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706" r:id="rId2"/>
    <p:sldId id="957" r:id="rId3"/>
    <p:sldId id="641" r:id="rId4"/>
    <p:sldId id="616" r:id="rId5"/>
    <p:sldId id="582" r:id="rId6"/>
    <p:sldId id="554" r:id="rId7"/>
    <p:sldId id="956" r:id="rId8"/>
    <p:sldId id="958" r:id="rId9"/>
    <p:sldId id="464" r:id="rId10"/>
    <p:sldId id="682" r:id="rId11"/>
    <p:sldId id="707" r:id="rId12"/>
    <p:sldId id="770" r:id="rId13"/>
    <p:sldId id="771" r:id="rId14"/>
    <p:sldId id="772" r:id="rId15"/>
    <p:sldId id="773" r:id="rId16"/>
    <p:sldId id="774" r:id="rId17"/>
    <p:sldId id="775" r:id="rId18"/>
    <p:sldId id="701" r:id="rId19"/>
    <p:sldId id="777" r:id="rId20"/>
    <p:sldId id="786" r:id="rId21"/>
    <p:sldId id="696" r:id="rId22"/>
    <p:sldId id="785" r:id="rId23"/>
    <p:sldId id="791" r:id="rId24"/>
    <p:sldId id="698" r:id="rId25"/>
    <p:sldId id="695" r:id="rId26"/>
    <p:sldId id="533" r:id="rId27"/>
    <p:sldId id="708" r:id="rId28"/>
    <p:sldId id="755" r:id="rId29"/>
    <p:sldId id="790" r:id="rId30"/>
    <p:sldId id="756" r:id="rId31"/>
    <p:sldId id="789" r:id="rId32"/>
    <p:sldId id="959" r:id="rId33"/>
    <p:sldId id="638" r:id="rId34"/>
    <p:sldId id="654" r:id="rId35"/>
    <p:sldId id="926" r:id="rId36"/>
    <p:sldId id="632" r:id="rId37"/>
  </p:sldIdLst>
  <p:sldSz cx="9144000" cy="6858000" type="screen4x3"/>
  <p:notesSz cx="7315200" cy="96012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7AF0A359-8DDB-6E47-8670-383B323712B0}">
          <p14:sldIdLst>
            <p14:sldId id="706"/>
            <p14:sldId id="957"/>
            <p14:sldId id="641"/>
            <p14:sldId id="616"/>
            <p14:sldId id="582"/>
            <p14:sldId id="554"/>
            <p14:sldId id="956"/>
            <p14:sldId id="958"/>
            <p14:sldId id="464"/>
            <p14:sldId id="682"/>
            <p14:sldId id="707"/>
            <p14:sldId id="770"/>
            <p14:sldId id="771"/>
            <p14:sldId id="772"/>
            <p14:sldId id="773"/>
            <p14:sldId id="774"/>
            <p14:sldId id="775"/>
            <p14:sldId id="701"/>
            <p14:sldId id="777"/>
            <p14:sldId id="786"/>
            <p14:sldId id="696"/>
            <p14:sldId id="785"/>
            <p14:sldId id="791"/>
            <p14:sldId id="698"/>
            <p14:sldId id="695"/>
            <p14:sldId id="533"/>
            <p14:sldId id="708"/>
            <p14:sldId id="755"/>
            <p14:sldId id="790"/>
            <p14:sldId id="756"/>
            <p14:sldId id="789"/>
            <p14:sldId id="959"/>
            <p14:sldId id="638"/>
            <p14:sldId id="654"/>
            <p14:sldId id="926"/>
            <p14:sldId id="6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0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steban Burrone" initials="E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C2E6"/>
    <a:srgbClr val="FCB415"/>
    <a:srgbClr val="EF894B"/>
    <a:srgbClr val="F4B084"/>
    <a:srgbClr val="225590"/>
    <a:srgbClr val="00FF00"/>
    <a:srgbClr val="66CCFF"/>
    <a:srgbClr val="CC99FF"/>
    <a:srgbClr val="F816F8"/>
    <a:srgbClr val="F3E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41" autoAdjust="0"/>
    <p:restoredTop sz="91042" autoAdjust="0"/>
  </p:normalViewPr>
  <p:slideViewPr>
    <p:cSldViewPr snapToGrid="0" snapToObjects="1">
      <p:cViewPr varScale="1">
        <p:scale>
          <a:sx n="73" d="100"/>
          <a:sy n="73" d="100"/>
        </p:scale>
        <p:origin x="2152" y="184"/>
      </p:cViewPr>
      <p:guideLst>
        <p:guide orient="horz" pos="420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agupta\Documents\BD\Impact\Impact%20H1-2017%20(R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Cumulative savings and Patients serviced through MPP license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hart!$B$1</c:f>
              <c:strCache>
                <c:ptCount val="1"/>
                <c:pt idx="0">
                  <c:v>Saving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Chart!$A$2:$A$7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Chart!$B$2:$B$7</c:f>
              <c:numCache>
                <c:formatCode>_(* #,##0_);_(* \(#,##0\);_(* "-"??_);_(@_)</c:formatCode>
                <c:ptCount val="6"/>
                <c:pt idx="0">
                  <c:v>11.90687219104055</c:v>
                </c:pt>
                <c:pt idx="1">
                  <c:v>24.746007709898141</c:v>
                </c:pt>
                <c:pt idx="2">
                  <c:v>79.593881459374671</c:v>
                </c:pt>
                <c:pt idx="3">
                  <c:v>194.8469130837328</c:v>
                </c:pt>
                <c:pt idx="4">
                  <c:v>317.15455381057831</c:v>
                </c:pt>
                <c:pt idx="5">
                  <c:v>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E9-4E72-A347-1CBEBE531B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46022488"/>
        <c:axId val="-2144829864"/>
      </c:barChart>
      <c:lineChart>
        <c:grouping val="standard"/>
        <c:varyColors val="0"/>
        <c:ser>
          <c:idx val="1"/>
          <c:order val="1"/>
          <c:tx>
            <c:strRef>
              <c:f>Chart!$C$1</c:f>
              <c:strCache>
                <c:ptCount val="1"/>
                <c:pt idx="0">
                  <c:v>Patient Year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Chart!$A$2:$A$7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Chart!$C$2:$C$7</c:f>
              <c:numCache>
                <c:formatCode>_(* #,##0_);_(* \(#,##0\);_(* "-"??_);_(@_)</c:formatCode>
                <c:ptCount val="6"/>
                <c:pt idx="0">
                  <c:v>0.92854415260274004</c:v>
                </c:pt>
                <c:pt idx="1">
                  <c:v>2.8957307827397258</c:v>
                </c:pt>
                <c:pt idx="2">
                  <c:v>6.0274497827397271</c:v>
                </c:pt>
                <c:pt idx="3">
                  <c:v>9.1076089334246575</c:v>
                </c:pt>
                <c:pt idx="4">
                  <c:v>12.980389924814091</c:v>
                </c:pt>
                <c:pt idx="5">
                  <c:v>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E9-4E72-A347-1CBEBE531B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4816216"/>
        <c:axId val="-2144822984"/>
      </c:lineChart>
      <c:catAx>
        <c:axId val="-2146022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44829864"/>
        <c:crosses val="autoZero"/>
        <c:auto val="1"/>
        <c:lblAlgn val="ctr"/>
        <c:lblOffset val="100"/>
        <c:noMultiLvlLbl val="0"/>
      </c:catAx>
      <c:valAx>
        <c:axId val="-2144829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SD m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46022488"/>
        <c:crosses val="autoZero"/>
        <c:crossBetween val="between"/>
      </c:valAx>
      <c:valAx>
        <c:axId val="-214482298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atient years (mn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44816216"/>
        <c:crosses val="max"/>
        <c:crossBetween val="between"/>
      </c:valAx>
      <c:catAx>
        <c:axId val="-21448162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4482298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AFD7AD-0FAA-6B48-A3B7-266297C19E6E}" type="doc">
      <dgm:prSet loTypeId="urn:microsoft.com/office/officeart/2008/layout/VerticalCurvedLis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C5F9300-7112-9C4C-B4D2-0B1DDA457B39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endParaRPr lang="en-US" sz="1400" b="0" dirty="0"/>
        </a:p>
        <a:p>
          <a:pPr algn="l"/>
          <a:r>
            <a:rPr lang="en-US" sz="1600" b="1" dirty="0"/>
            <a:t>Broad</a:t>
          </a:r>
          <a:r>
            <a:rPr lang="en-US" sz="1600" b="1" baseline="0" dirty="0"/>
            <a:t> geographical scope </a:t>
          </a:r>
          <a:r>
            <a:rPr lang="mr-IN" sz="1600" b="0" baseline="0" dirty="0"/>
            <a:t>–</a:t>
          </a:r>
          <a:r>
            <a:rPr lang="en-US" sz="1600" b="0" baseline="0" dirty="0"/>
            <a:t> up to 130 countries covered in MPP </a:t>
          </a:r>
          <a:r>
            <a:rPr lang="en-US" sz="1600" b="0" baseline="0" dirty="0" err="1"/>
            <a:t>licences</a:t>
          </a:r>
          <a:r>
            <a:rPr lang="en-US" sz="1600" b="0" baseline="0" dirty="0"/>
            <a:t>, including large number of middle-income countries</a:t>
          </a:r>
        </a:p>
        <a:p>
          <a:pPr algn="l"/>
          <a:endParaRPr lang="en-US" sz="1600" b="0" dirty="0"/>
        </a:p>
      </dgm:t>
    </dgm:pt>
    <dgm:pt modelId="{4C8604EF-EEB7-B84A-BFAE-D43FEA3ADFC6}" type="parTrans" cxnId="{868BF759-A1F2-0043-B6DD-B009A2C8D6FD}">
      <dgm:prSet/>
      <dgm:spPr/>
      <dgm:t>
        <a:bodyPr/>
        <a:lstStyle/>
        <a:p>
          <a:endParaRPr lang="en-US"/>
        </a:p>
      </dgm:t>
    </dgm:pt>
    <dgm:pt modelId="{D8B99AC7-E9AF-DB4F-98C6-BE1136629F9F}" type="sibTrans" cxnId="{868BF759-A1F2-0043-B6DD-B009A2C8D6FD}">
      <dgm:prSet/>
      <dgm:spPr/>
      <dgm:t>
        <a:bodyPr/>
        <a:lstStyle/>
        <a:p>
          <a:endParaRPr lang="en-US" b="0"/>
        </a:p>
      </dgm:t>
    </dgm:pt>
    <dgm:pt modelId="{1AA11AE8-D6B6-FD41-BDF3-AF953A65DC79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US" sz="1600" b="0" dirty="0"/>
        </a:p>
        <a:p>
          <a:r>
            <a:rPr lang="en-US" sz="1600" b="1" dirty="0"/>
            <a:t>Transparent</a:t>
          </a:r>
          <a:r>
            <a:rPr lang="en-US" sz="1600" b="0" dirty="0"/>
            <a:t> </a:t>
          </a:r>
          <a:r>
            <a:rPr lang="mr-IN" sz="1600" b="0" dirty="0"/>
            <a:t>–</a:t>
          </a:r>
          <a:r>
            <a:rPr lang="en-US" sz="1600" b="0" dirty="0"/>
            <a:t> all </a:t>
          </a:r>
          <a:r>
            <a:rPr lang="en-US" sz="1600" b="0" dirty="0" err="1"/>
            <a:t>licences</a:t>
          </a:r>
          <a:r>
            <a:rPr lang="en-US" sz="1600" b="0" dirty="0"/>
            <a:t> are public</a:t>
          </a:r>
        </a:p>
        <a:p>
          <a:endParaRPr lang="en-US" sz="1600" b="0" dirty="0"/>
        </a:p>
      </dgm:t>
    </dgm:pt>
    <dgm:pt modelId="{DC69156F-8E12-0642-8142-8C65C6082A6A}" type="parTrans" cxnId="{BE17357C-7AD1-D24C-85C9-E851952AA9B9}">
      <dgm:prSet/>
      <dgm:spPr/>
      <dgm:t>
        <a:bodyPr/>
        <a:lstStyle/>
        <a:p>
          <a:endParaRPr lang="en-US"/>
        </a:p>
      </dgm:t>
    </dgm:pt>
    <dgm:pt modelId="{B68FF443-7328-CE48-82CE-2F270EA3B3D6}" type="sibTrans" cxnId="{BE17357C-7AD1-D24C-85C9-E851952AA9B9}">
      <dgm:prSet/>
      <dgm:spPr/>
      <dgm:t>
        <a:bodyPr/>
        <a:lstStyle/>
        <a:p>
          <a:endParaRPr lang="en-US"/>
        </a:p>
      </dgm:t>
    </dgm:pt>
    <dgm:pt modelId="{042C2B26-3A61-FE43-84BF-767193EB5AE6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600" b="1" dirty="0"/>
            <a:t>Non-exclusive</a:t>
          </a:r>
          <a:r>
            <a:rPr lang="en-US" sz="1600" b="1" baseline="0" dirty="0"/>
            <a:t> </a:t>
          </a:r>
          <a:r>
            <a:rPr lang="en-US" sz="1600" b="0" baseline="0" dirty="0"/>
            <a:t>to encourage competition; licensees selected through rigorous expression of interest process</a:t>
          </a:r>
          <a:endParaRPr lang="en-US" sz="1600" b="0" dirty="0"/>
        </a:p>
      </dgm:t>
    </dgm:pt>
    <dgm:pt modelId="{2819BEE8-8E13-8F4F-910D-001DFFAC2BED}" type="parTrans" cxnId="{6248358E-1334-9744-B1BB-7A1E99212151}">
      <dgm:prSet/>
      <dgm:spPr/>
      <dgm:t>
        <a:bodyPr/>
        <a:lstStyle/>
        <a:p>
          <a:endParaRPr lang="en-US"/>
        </a:p>
      </dgm:t>
    </dgm:pt>
    <dgm:pt modelId="{4CC20257-C0E9-E541-A464-B1EA925E2821}" type="sibTrans" cxnId="{6248358E-1334-9744-B1BB-7A1E99212151}">
      <dgm:prSet/>
      <dgm:spPr/>
      <dgm:t>
        <a:bodyPr/>
        <a:lstStyle/>
        <a:p>
          <a:endParaRPr lang="en-US"/>
        </a:p>
      </dgm:t>
    </dgm:pt>
    <dgm:pt modelId="{509D2A1E-140A-F046-839D-BA95922B8893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600" b="1" dirty="0"/>
            <a:t>Strict quality</a:t>
          </a:r>
          <a:r>
            <a:rPr lang="en-US" sz="1600" b="1" baseline="0" dirty="0"/>
            <a:t> assurance </a:t>
          </a:r>
          <a:r>
            <a:rPr lang="en-US" sz="1600" b="0" baseline="0" dirty="0"/>
            <a:t>(WHO PQ, SRA or ERP)</a:t>
          </a:r>
          <a:endParaRPr lang="en-US" sz="1600" b="0" dirty="0"/>
        </a:p>
      </dgm:t>
    </dgm:pt>
    <dgm:pt modelId="{6E002A5C-C6C7-F440-A4AB-3182CBE67535}" type="parTrans" cxnId="{437AB166-CB6D-3D46-AE45-999CDD4F0460}">
      <dgm:prSet/>
      <dgm:spPr/>
      <dgm:t>
        <a:bodyPr/>
        <a:lstStyle/>
        <a:p>
          <a:endParaRPr lang="en-US"/>
        </a:p>
      </dgm:t>
    </dgm:pt>
    <dgm:pt modelId="{DE6CE736-A338-A843-A605-C61FF86A29A7}" type="sibTrans" cxnId="{437AB166-CB6D-3D46-AE45-999CDD4F0460}">
      <dgm:prSet/>
      <dgm:spPr/>
      <dgm:t>
        <a:bodyPr/>
        <a:lstStyle/>
        <a:p>
          <a:endParaRPr lang="en-US"/>
        </a:p>
      </dgm:t>
    </dgm:pt>
    <dgm:pt modelId="{0610FD77-9D7F-8F47-8A78-5669CA6391C8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600" b="1" dirty="0" err="1"/>
            <a:t>Faclitate</a:t>
          </a:r>
          <a:r>
            <a:rPr lang="en-US" sz="1600" b="1" dirty="0"/>
            <a:t> development </a:t>
          </a:r>
          <a:r>
            <a:rPr lang="en-US" sz="1600" b="0" dirty="0"/>
            <a:t>of new fixed dose combinations and </a:t>
          </a:r>
          <a:r>
            <a:rPr lang="en-US" sz="1600" b="0" dirty="0" err="1"/>
            <a:t>paediatric</a:t>
          </a:r>
          <a:r>
            <a:rPr lang="en-US" sz="1600" b="0" dirty="0"/>
            <a:t> formulations</a:t>
          </a:r>
        </a:p>
      </dgm:t>
    </dgm:pt>
    <dgm:pt modelId="{63A3250B-9127-F946-B961-F2F19C1320DE}" type="parTrans" cxnId="{E380BFE7-973E-4D4A-B05E-7D403BB03792}">
      <dgm:prSet/>
      <dgm:spPr/>
      <dgm:t>
        <a:bodyPr/>
        <a:lstStyle/>
        <a:p>
          <a:endParaRPr lang="en-US"/>
        </a:p>
      </dgm:t>
    </dgm:pt>
    <dgm:pt modelId="{C11869E5-A97E-F649-871F-3473095C0798}" type="sibTrans" cxnId="{E380BFE7-973E-4D4A-B05E-7D403BB03792}">
      <dgm:prSet/>
      <dgm:spPr/>
      <dgm:t>
        <a:bodyPr/>
        <a:lstStyle/>
        <a:p>
          <a:endParaRPr lang="en-US"/>
        </a:p>
      </dgm:t>
    </dgm:pt>
    <dgm:pt modelId="{A89B6ED1-CB9C-5E4C-8062-B01A3AB98647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600" b="1" dirty="0"/>
            <a:t>Complementary</a:t>
          </a:r>
          <a:r>
            <a:rPr lang="en-US" sz="1600" b="0" dirty="0"/>
            <a:t> to other access programs and strategies</a:t>
          </a:r>
        </a:p>
      </dgm:t>
    </dgm:pt>
    <dgm:pt modelId="{4E67A7D1-5C0D-E540-93FE-63942CEED35B}" type="parTrans" cxnId="{008B81A9-0A61-CE46-BA29-014FC0953DED}">
      <dgm:prSet/>
      <dgm:spPr/>
      <dgm:t>
        <a:bodyPr/>
        <a:lstStyle/>
        <a:p>
          <a:endParaRPr lang="en-US"/>
        </a:p>
      </dgm:t>
    </dgm:pt>
    <dgm:pt modelId="{24C0A4AB-4E34-9D4C-9F35-2AD0D476899B}" type="sibTrans" cxnId="{008B81A9-0A61-CE46-BA29-014FC0953DED}">
      <dgm:prSet/>
      <dgm:spPr/>
      <dgm:t>
        <a:bodyPr/>
        <a:lstStyle/>
        <a:p>
          <a:endParaRPr lang="en-US"/>
        </a:p>
      </dgm:t>
    </dgm:pt>
    <dgm:pt modelId="{70145ED7-F35B-8A4C-90FE-94F7CF7723F4}" type="pres">
      <dgm:prSet presAssocID="{4BAFD7AD-0FAA-6B48-A3B7-266297C19E6E}" presName="Name0" presStyleCnt="0">
        <dgm:presLayoutVars>
          <dgm:chMax val="7"/>
          <dgm:chPref val="7"/>
          <dgm:dir/>
        </dgm:presLayoutVars>
      </dgm:prSet>
      <dgm:spPr/>
    </dgm:pt>
    <dgm:pt modelId="{FB5C580A-D25D-6449-A99D-4B5123815F8F}" type="pres">
      <dgm:prSet presAssocID="{4BAFD7AD-0FAA-6B48-A3B7-266297C19E6E}" presName="Name1" presStyleCnt="0"/>
      <dgm:spPr/>
    </dgm:pt>
    <dgm:pt modelId="{BCE4D342-0B0B-104C-9D2D-9FC9C072ABC8}" type="pres">
      <dgm:prSet presAssocID="{4BAFD7AD-0FAA-6B48-A3B7-266297C19E6E}" presName="cycle" presStyleCnt="0"/>
      <dgm:spPr/>
    </dgm:pt>
    <dgm:pt modelId="{79F5DEB4-9171-324F-96E8-F657E97AAECE}" type="pres">
      <dgm:prSet presAssocID="{4BAFD7AD-0FAA-6B48-A3B7-266297C19E6E}" presName="srcNode" presStyleLbl="node1" presStyleIdx="0" presStyleCnt="6"/>
      <dgm:spPr/>
    </dgm:pt>
    <dgm:pt modelId="{6F56BECA-E703-F543-A453-A90FA6E70909}" type="pres">
      <dgm:prSet presAssocID="{4BAFD7AD-0FAA-6B48-A3B7-266297C19E6E}" presName="conn" presStyleLbl="parChTrans1D2" presStyleIdx="0" presStyleCnt="1"/>
      <dgm:spPr/>
    </dgm:pt>
    <dgm:pt modelId="{AE21DCBC-CAED-9D49-B7DB-2CBD2D3EE214}" type="pres">
      <dgm:prSet presAssocID="{4BAFD7AD-0FAA-6B48-A3B7-266297C19E6E}" presName="extraNode" presStyleLbl="node1" presStyleIdx="0" presStyleCnt="6"/>
      <dgm:spPr/>
    </dgm:pt>
    <dgm:pt modelId="{D200C1A6-1532-B443-88DD-BC314EB0D3C5}" type="pres">
      <dgm:prSet presAssocID="{4BAFD7AD-0FAA-6B48-A3B7-266297C19E6E}" presName="dstNode" presStyleLbl="node1" presStyleIdx="0" presStyleCnt="6"/>
      <dgm:spPr/>
    </dgm:pt>
    <dgm:pt modelId="{75234EE5-171F-D34A-AC24-D07F2BC4C685}" type="pres">
      <dgm:prSet presAssocID="{3C5F9300-7112-9C4C-B4D2-0B1DDA457B39}" presName="text_1" presStyleLbl="node1" presStyleIdx="0" presStyleCnt="6" custScaleY="148794">
        <dgm:presLayoutVars>
          <dgm:bulletEnabled val="1"/>
        </dgm:presLayoutVars>
      </dgm:prSet>
      <dgm:spPr/>
    </dgm:pt>
    <dgm:pt modelId="{2E76AF4C-5EBE-1649-9D85-FFBD05DC00CC}" type="pres">
      <dgm:prSet presAssocID="{3C5F9300-7112-9C4C-B4D2-0B1DDA457B39}" presName="accent_1" presStyleCnt="0"/>
      <dgm:spPr/>
    </dgm:pt>
    <dgm:pt modelId="{8C5BB79A-05E2-7A4D-BE07-95F10AA63E54}" type="pres">
      <dgm:prSet presAssocID="{3C5F9300-7112-9C4C-B4D2-0B1DDA457B39}" presName="accentRepeatNode" presStyleLbl="solidFgAcc1" presStyleIdx="0" presStyleCnt="6"/>
      <dgm:spPr>
        <a:solidFill>
          <a:srgbClr val="5DA1A7"/>
        </a:solidFill>
      </dgm:spPr>
    </dgm:pt>
    <dgm:pt modelId="{8F695FEB-8284-8D47-B1D5-3C6550C1B5A9}" type="pres">
      <dgm:prSet presAssocID="{1AA11AE8-D6B6-FD41-BDF3-AF953A65DC79}" presName="text_2" presStyleLbl="node1" presStyleIdx="1" presStyleCnt="6">
        <dgm:presLayoutVars>
          <dgm:bulletEnabled val="1"/>
        </dgm:presLayoutVars>
      </dgm:prSet>
      <dgm:spPr/>
    </dgm:pt>
    <dgm:pt modelId="{8713E07B-62C9-E34C-9912-CA55BCB387B1}" type="pres">
      <dgm:prSet presAssocID="{1AA11AE8-D6B6-FD41-BDF3-AF953A65DC79}" presName="accent_2" presStyleCnt="0"/>
      <dgm:spPr/>
    </dgm:pt>
    <dgm:pt modelId="{FE04DC37-7E5A-074E-B20C-137407600691}" type="pres">
      <dgm:prSet presAssocID="{1AA11AE8-D6B6-FD41-BDF3-AF953A65DC79}" presName="accentRepeatNode" presStyleLbl="solidFgAcc1" presStyleIdx="1" presStyleCnt="6"/>
      <dgm:spPr>
        <a:solidFill>
          <a:srgbClr val="3A5895"/>
        </a:solidFill>
      </dgm:spPr>
    </dgm:pt>
    <dgm:pt modelId="{BADBD53A-87AE-7F42-9BB0-099DB1F60826}" type="pres">
      <dgm:prSet presAssocID="{042C2B26-3A61-FE43-84BF-767193EB5AE6}" presName="text_3" presStyleLbl="node1" presStyleIdx="2" presStyleCnt="6" custScaleY="170546">
        <dgm:presLayoutVars>
          <dgm:bulletEnabled val="1"/>
        </dgm:presLayoutVars>
      </dgm:prSet>
      <dgm:spPr/>
    </dgm:pt>
    <dgm:pt modelId="{19EC01F2-A4AF-E64E-8E35-382FF3B8E4F9}" type="pres">
      <dgm:prSet presAssocID="{042C2B26-3A61-FE43-84BF-767193EB5AE6}" presName="accent_3" presStyleCnt="0"/>
      <dgm:spPr/>
    </dgm:pt>
    <dgm:pt modelId="{CA7633B7-DC48-9944-A6F1-4BD785675DDF}" type="pres">
      <dgm:prSet presAssocID="{042C2B26-3A61-FE43-84BF-767193EB5AE6}" presName="accentRepeatNode" presStyleLbl="solidFgAcc1" presStyleIdx="2" presStyleCnt="6"/>
      <dgm:spPr>
        <a:solidFill>
          <a:srgbClr val="5DA1A7"/>
        </a:solidFill>
      </dgm:spPr>
    </dgm:pt>
    <dgm:pt modelId="{A7F0DF05-0D85-D942-9FE8-054048E4162C}" type="pres">
      <dgm:prSet presAssocID="{509D2A1E-140A-F046-839D-BA95922B8893}" presName="text_4" presStyleLbl="node1" presStyleIdx="3" presStyleCnt="6">
        <dgm:presLayoutVars>
          <dgm:bulletEnabled val="1"/>
        </dgm:presLayoutVars>
      </dgm:prSet>
      <dgm:spPr/>
    </dgm:pt>
    <dgm:pt modelId="{FF6722C6-6791-7846-88D6-96E94C55878F}" type="pres">
      <dgm:prSet presAssocID="{509D2A1E-140A-F046-839D-BA95922B8893}" presName="accent_4" presStyleCnt="0"/>
      <dgm:spPr/>
    </dgm:pt>
    <dgm:pt modelId="{B96C97E9-AA75-F944-B056-3E6B6C54DCAF}" type="pres">
      <dgm:prSet presAssocID="{509D2A1E-140A-F046-839D-BA95922B8893}" presName="accentRepeatNode" presStyleLbl="solidFgAcc1" presStyleIdx="3" presStyleCnt="6"/>
      <dgm:spPr>
        <a:solidFill>
          <a:srgbClr val="4A9BA6"/>
        </a:solidFill>
      </dgm:spPr>
    </dgm:pt>
    <dgm:pt modelId="{032335D3-0F6A-8740-9FBD-F60FFD2128E0}" type="pres">
      <dgm:prSet presAssocID="{0610FD77-9D7F-8F47-8A78-5669CA6391C8}" presName="text_5" presStyleLbl="node1" presStyleIdx="4" presStyleCnt="6">
        <dgm:presLayoutVars>
          <dgm:bulletEnabled val="1"/>
        </dgm:presLayoutVars>
      </dgm:prSet>
      <dgm:spPr/>
    </dgm:pt>
    <dgm:pt modelId="{F960CC36-D91A-8444-A16D-259E0E2207DD}" type="pres">
      <dgm:prSet presAssocID="{0610FD77-9D7F-8F47-8A78-5669CA6391C8}" presName="accent_5" presStyleCnt="0"/>
      <dgm:spPr/>
    </dgm:pt>
    <dgm:pt modelId="{6BC38759-8AEA-CA4A-B2C8-6919434DC42C}" type="pres">
      <dgm:prSet presAssocID="{0610FD77-9D7F-8F47-8A78-5669CA6391C8}" presName="accentRepeatNode" presStyleLbl="solidFgAcc1" presStyleIdx="4" presStyleCnt="6"/>
      <dgm:spPr>
        <a:solidFill>
          <a:srgbClr val="3A5895"/>
        </a:solidFill>
      </dgm:spPr>
    </dgm:pt>
    <dgm:pt modelId="{599D329B-E208-7047-8AE0-4F8D7D2A4478}" type="pres">
      <dgm:prSet presAssocID="{A89B6ED1-CB9C-5E4C-8062-B01A3AB98647}" presName="text_6" presStyleLbl="node1" presStyleIdx="5" presStyleCnt="6">
        <dgm:presLayoutVars>
          <dgm:bulletEnabled val="1"/>
        </dgm:presLayoutVars>
      </dgm:prSet>
      <dgm:spPr/>
    </dgm:pt>
    <dgm:pt modelId="{146256B8-BF7C-8749-9F61-3B34A0FE2212}" type="pres">
      <dgm:prSet presAssocID="{A89B6ED1-CB9C-5E4C-8062-B01A3AB98647}" presName="accent_6" presStyleCnt="0"/>
      <dgm:spPr/>
    </dgm:pt>
    <dgm:pt modelId="{18587F8A-3EF0-F940-BE28-C4739AA28FEE}" type="pres">
      <dgm:prSet presAssocID="{A89B6ED1-CB9C-5E4C-8062-B01A3AB98647}" presName="accentRepeatNode" presStyleLbl="solidFgAcc1" presStyleIdx="5" presStyleCnt="6"/>
      <dgm:spPr>
        <a:solidFill>
          <a:schemeClr val="accent5">
            <a:lumMod val="75000"/>
          </a:schemeClr>
        </a:solidFill>
      </dgm:spPr>
    </dgm:pt>
  </dgm:ptLst>
  <dgm:cxnLst>
    <dgm:cxn modelId="{F76B0F09-4AE6-2148-A7B5-912974B3AFB2}" type="presOf" srcId="{509D2A1E-140A-F046-839D-BA95922B8893}" destId="{A7F0DF05-0D85-D942-9FE8-054048E4162C}" srcOrd="0" destOrd="0" presId="urn:microsoft.com/office/officeart/2008/layout/VerticalCurvedList"/>
    <dgm:cxn modelId="{9958A627-A518-9044-9171-D2B0677D791C}" type="presOf" srcId="{1AA11AE8-D6B6-FD41-BDF3-AF953A65DC79}" destId="{8F695FEB-8284-8D47-B1D5-3C6550C1B5A9}" srcOrd="0" destOrd="0" presId="urn:microsoft.com/office/officeart/2008/layout/VerticalCurvedList"/>
    <dgm:cxn modelId="{5D98F242-AF1E-8849-9675-2D91B91F1B28}" type="presOf" srcId="{A89B6ED1-CB9C-5E4C-8062-B01A3AB98647}" destId="{599D329B-E208-7047-8AE0-4F8D7D2A4478}" srcOrd="0" destOrd="0" presId="urn:microsoft.com/office/officeart/2008/layout/VerticalCurvedList"/>
    <dgm:cxn modelId="{AAEB5047-F86D-1347-9FF1-6D5B0761B750}" type="presOf" srcId="{0610FD77-9D7F-8F47-8A78-5669CA6391C8}" destId="{032335D3-0F6A-8740-9FBD-F60FFD2128E0}" srcOrd="0" destOrd="0" presId="urn:microsoft.com/office/officeart/2008/layout/VerticalCurvedList"/>
    <dgm:cxn modelId="{622BCE4C-E5D0-B846-8517-0F3B8FF5D1E1}" type="presOf" srcId="{3C5F9300-7112-9C4C-B4D2-0B1DDA457B39}" destId="{75234EE5-171F-D34A-AC24-D07F2BC4C685}" srcOrd="0" destOrd="0" presId="urn:microsoft.com/office/officeart/2008/layout/VerticalCurvedList"/>
    <dgm:cxn modelId="{BF9C8455-4E07-2F4B-8B9B-81650581B292}" type="presOf" srcId="{042C2B26-3A61-FE43-84BF-767193EB5AE6}" destId="{BADBD53A-87AE-7F42-9BB0-099DB1F60826}" srcOrd="0" destOrd="0" presId="urn:microsoft.com/office/officeart/2008/layout/VerticalCurvedList"/>
    <dgm:cxn modelId="{868BF759-A1F2-0043-B6DD-B009A2C8D6FD}" srcId="{4BAFD7AD-0FAA-6B48-A3B7-266297C19E6E}" destId="{3C5F9300-7112-9C4C-B4D2-0B1DDA457B39}" srcOrd="0" destOrd="0" parTransId="{4C8604EF-EEB7-B84A-BFAE-D43FEA3ADFC6}" sibTransId="{D8B99AC7-E9AF-DB4F-98C6-BE1136629F9F}"/>
    <dgm:cxn modelId="{437AB166-CB6D-3D46-AE45-999CDD4F0460}" srcId="{4BAFD7AD-0FAA-6B48-A3B7-266297C19E6E}" destId="{509D2A1E-140A-F046-839D-BA95922B8893}" srcOrd="3" destOrd="0" parTransId="{6E002A5C-C6C7-F440-A4AB-3182CBE67535}" sibTransId="{DE6CE736-A338-A843-A605-C61FF86A29A7}"/>
    <dgm:cxn modelId="{BE17357C-7AD1-D24C-85C9-E851952AA9B9}" srcId="{4BAFD7AD-0FAA-6B48-A3B7-266297C19E6E}" destId="{1AA11AE8-D6B6-FD41-BDF3-AF953A65DC79}" srcOrd="1" destOrd="0" parTransId="{DC69156F-8E12-0642-8142-8C65C6082A6A}" sibTransId="{B68FF443-7328-CE48-82CE-2F270EA3B3D6}"/>
    <dgm:cxn modelId="{6248358E-1334-9744-B1BB-7A1E99212151}" srcId="{4BAFD7AD-0FAA-6B48-A3B7-266297C19E6E}" destId="{042C2B26-3A61-FE43-84BF-767193EB5AE6}" srcOrd="2" destOrd="0" parTransId="{2819BEE8-8E13-8F4F-910D-001DFFAC2BED}" sibTransId="{4CC20257-C0E9-E541-A464-B1EA925E2821}"/>
    <dgm:cxn modelId="{86ECB2A1-DD8C-1D40-9953-89A244423ACF}" type="presOf" srcId="{D8B99AC7-E9AF-DB4F-98C6-BE1136629F9F}" destId="{6F56BECA-E703-F543-A453-A90FA6E70909}" srcOrd="0" destOrd="0" presId="urn:microsoft.com/office/officeart/2008/layout/VerticalCurvedList"/>
    <dgm:cxn modelId="{008B81A9-0A61-CE46-BA29-014FC0953DED}" srcId="{4BAFD7AD-0FAA-6B48-A3B7-266297C19E6E}" destId="{A89B6ED1-CB9C-5E4C-8062-B01A3AB98647}" srcOrd="5" destOrd="0" parTransId="{4E67A7D1-5C0D-E540-93FE-63942CEED35B}" sibTransId="{24C0A4AB-4E34-9D4C-9F35-2AD0D476899B}"/>
    <dgm:cxn modelId="{832417E0-5CA0-134F-AAEB-AF8D11527A83}" type="presOf" srcId="{4BAFD7AD-0FAA-6B48-A3B7-266297C19E6E}" destId="{70145ED7-F35B-8A4C-90FE-94F7CF7723F4}" srcOrd="0" destOrd="0" presId="urn:microsoft.com/office/officeart/2008/layout/VerticalCurvedList"/>
    <dgm:cxn modelId="{E380BFE7-973E-4D4A-B05E-7D403BB03792}" srcId="{4BAFD7AD-0FAA-6B48-A3B7-266297C19E6E}" destId="{0610FD77-9D7F-8F47-8A78-5669CA6391C8}" srcOrd="4" destOrd="0" parTransId="{63A3250B-9127-F946-B961-F2F19C1320DE}" sibTransId="{C11869E5-A97E-F649-871F-3473095C0798}"/>
    <dgm:cxn modelId="{AB938E7D-19BB-EF4C-8D7B-7744A592409C}" type="presParOf" srcId="{70145ED7-F35B-8A4C-90FE-94F7CF7723F4}" destId="{FB5C580A-D25D-6449-A99D-4B5123815F8F}" srcOrd="0" destOrd="0" presId="urn:microsoft.com/office/officeart/2008/layout/VerticalCurvedList"/>
    <dgm:cxn modelId="{C51674B2-0740-8548-A0F1-A3CEAC1565CB}" type="presParOf" srcId="{FB5C580A-D25D-6449-A99D-4B5123815F8F}" destId="{BCE4D342-0B0B-104C-9D2D-9FC9C072ABC8}" srcOrd="0" destOrd="0" presId="urn:microsoft.com/office/officeart/2008/layout/VerticalCurvedList"/>
    <dgm:cxn modelId="{781090DF-C582-CF4A-A393-C9398AD905DE}" type="presParOf" srcId="{BCE4D342-0B0B-104C-9D2D-9FC9C072ABC8}" destId="{79F5DEB4-9171-324F-96E8-F657E97AAECE}" srcOrd="0" destOrd="0" presId="urn:microsoft.com/office/officeart/2008/layout/VerticalCurvedList"/>
    <dgm:cxn modelId="{B66D3DA2-7F46-114F-9856-38DE845181BF}" type="presParOf" srcId="{BCE4D342-0B0B-104C-9D2D-9FC9C072ABC8}" destId="{6F56BECA-E703-F543-A453-A90FA6E70909}" srcOrd="1" destOrd="0" presId="urn:microsoft.com/office/officeart/2008/layout/VerticalCurvedList"/>
    <dgm:cxn modelId="{2AEBC0F5-EE31-D64C-854D-AD8637FCAB19}" type="presParOf" srcId="{BCE4D342-0B0B-104C-9D2D-9FC9C072ABC8}" destId="{AE21DCBC-CAED-9D49-B7DB-2CBD2D3EE214}" srcOrd="2" destOrd="0" presId="urn:microsoft.com/office/officeart/2008/layout/VerticalCurvedList"/>
    <dgm:cxn modelId="{6F2491B4-B6DE-164A-9542-D8BF5B4AB1CE}" type="presParOf" srcId="{BCE4D342-0B0B-104C-9D2D-9FC9C072ABC8}" destId="{D200C1A6-1532-B443-88DD-BC314EB0D3C5}" srcOrd="3" destOrd="0" presId="urn:microsoft.com/office/officeart/2008/layout/VerticalCurvedList"/>
    <dgm:cxn modelId="{F3507D8B-78F1-7B40-AED6-9DB8FE5CCD9F}" type="presParOf" srcId="{FB5C580A-D25D-6449-A99D-4B5123815F8F}" destId="{75234EE5-171F-D34A-AC24-D07F2BC4C685}" srcOrd="1" destOrd="0" presId="urn:microsoft.com/office/officeart/2008/layout/VerticalCurvedList"/>
    <dgm:cxn modelId="{37803977-3293-0B41-8459-679863D3EA10}" type="presParOf" srcId="{FB5C580A-D25D-6449-A99D-4B5123815F8F}" destId="{2E76AF4C-5EBE-1649-9D85-FFBD05DC00CC}" srcOrd="2" destOrd="0" presId="urn:microsoft.com/office/officeart/2008/layout/VerticalCurvedList"/>
    <dgm:cxn modelId="{D01E12FF-F721-D640-90E2-F55626D69327}" type="presParOf" srcId="{2E76AF4C-5EBE-1649-9D85-FFBD05DC00CC}" destId="{8C5BB79A-05E2-7A4D-BE07-95F10AA63E54}" srcOrd="0" destOrd="0" presId="urn:microsoft.com/office/officeart/2008/layout/VerticalCurvedList"/>
    <dgm:cxn modelId="{A819B708-FCB1-A24E-B307-A79DF1229196}" type="presParOf" srcId="{FB5C580A-D25D-6449-A99D-4B5123815F8F}" destId="{8F695FEB-8284-8D47-B1D5-3C6550C1B5A9}" srcOrd="3" destOrd="0" presId="urn:microsoft.com/office/officeart/2008/layout/VerticalCurvedList"/>
    <dgm:cxn modelId="{C56B5040-FC4A-8146-8D3B-26E11366CFBC}" type="presParOf" srcId="{FB5C580A-D25D-6449-A99D-4B5123815F8F}" destId="{8713E07B-62C9-E34C-9912-CA55BCB387B1}" srcOrd="4" destOrd="0" presId="urn:microsoft.com/office/officeart/2008/layout/VerticalCurvedList"/>
    <dgm:cxn modelId="{C8C01EC8-EB74-B04D-B8AE-E3F950A224DA}" type="presParOf" srcId="{8713E07B-62C9-E34C-9912-CA55BCB387B1}" destId="{FE04DC37-7E5A-074E-B20C-137407600691}" srcOrd="0" destOrd="0" presId="urn:microsoft.com/office/officeart/2008/layout/VerticalCurvedList"/>
    <dgm:cxn modelId="{371A01EF-F079-8644-89AB-2D41B23351F4}" type="presParOf" srcId="{FB5C580A-D25D-6449-A99D-4B5123815F8F}" destId="{BADBD53A-87AE-7F42-9BB0-099DB1F60826}" srcOrd="5" destOrd="0" presId="urn:microsoft.com/office/officeart/2008/layout/VerticalCurvedList"/>
    <dgm:cxn modelId="{4304C4D7-62B4-2B45-B4EB-0EDA15E280CF}" type="presParOf" srcId="{FB5C580A-D25D-6449-A99D-4B5123815F8F}" destId="{19EC01F2-A4AF-E64E-8E35-382FF3B8E4F9}" srcOrd="6" destOrd="0" presId="urn:microsoft.com/office/officeart/2008/layout/VerticalCurvedList"/>
    <dgm:cxn modelId="{520E73B4-41BF-CE46-9E1F-9D784FC9DA8D}" type="presParOf" srcId="{19EC01F2-A4AF-E64E-8E35-382FF3B8E4F9}" destId="{CA7633B7-DC48-9944-A6F1-4BD785675DDF}" srcOrd="0" destOrd="0" presId="urn:microsoft.com/office/officeart/2008/layout/VerticalCurvedList"/>
    <dgm:cxn modelId="{0D6AB428-797D-4F4E-8151-01337C83E21A}" type="presParOf" srcId="{FB5C580A-D25D-6449-A99D-4B5123815F8F}" destId="{A7F0DF05-0D85-D942-9FE8-054048E4162C}" srcOrd="7" destOrd="0" presId="urn:microsoft.com/office/officeart/2008/layout/VerticalCurvedList"/>
    <dgm:cxn modelId="{ACB85EB4-7F71-294F-8CF1-A90CBD938495}" type="presParOf" srcId="{FB5C580A-D25D-6449-A99D-4B5123815F8F}" destId="{FF6722C6-6791-7846-88D6-96E94C55878F}" srcOrd="8" destOrd="0" presId="urn:microsoft.com/office/officeart/2008/layout/VerticalCurvedList"/>
    <dgm:cxn modelId="{461C1DE8-3873-D34A-9256-74A6059E5736}" type="presParOf" srcId="{FF6722C6-6791-7846-88D6-96E94C55878F}" destId="{B96C97E9-AA75-F944-B056-3E6B6C54DCAF}" srcOrd="0" destOrd="0" presId="urn:microsoft.com/office/officeart/2008/layout/VerticalCurvedList"/>
    <dgm:cxn modelId="{58E68ECC-77C2-DA4F-BA72-44331AE9EA4B}" type="presParOf" srcId="{FB5C580A-D25D-6449-A99D-4B5123815F8F}" destId="{032335D3-0F6A-8740-9FBD-F60FFD2128E0}" srcOrd="9" destOrd="0" presId="urn:microsoft.com/office/officeart/2008/layout/VerticalCurvedList"/>
    <dgm:cxn modelId="{95EA5B92-2AD8-F249-B5D3-C884C6C33BA1}" type="presParOf" srcId="{FB5C580A-D25D-6449-A99D-4B5123815F8F}" destId="{F960CC36-D91A-8444-A16D-259E0E2207DD}" srcOrd="10" destOrd="0" presId="urn:microsoft.com/office/officeart/2008/layout/VerticalCurvedList"/>
    <dgm:cxn modelId="{C40C2612-6C4F-3948-AD61-5D054769BEA3}" type="presParOf" srcId="{F960CC36-D91A-8444-A16D-259E0E2207DD}" destId="{6BC38759-8AEA-CA4A-B2C8-6919434DC42C}" srcOrd="0" destOrd="0" presId="urn:microsoft.com/office/officeart/2008/layout/VerticalCurvedList"/>
    <dgm:cxn modelId="{54D96CE7-91C9-5640-9702-E8E81C1FF711}" type="presParOf" srcId="{FB5C580A-D25D-6449-A99D-4B5123815F8F}" destId="{599D329B-E208-7047-8AE0-4F8D7D2A4478}" srcOrd="11" destOrd="0" presId="urn:microsoft.com/office/officeart/2008/layout/VerticalCurvedList"/>
    <dgm:cxn modelId="{4A33B292-4E9D-D148-BD98-12BD9C814A67}" type="presParOf" srcId="{FB5C580A-D25D-6449-A99D-4B5123815F8F}" destId="{146256B8-BF7C-8749-9F61-3B34A0FE2212}" srcOrd="12" destOrd="0" presId="urn:microsoft.com/office/officeart/2008/layout/VerticalCurvedList"/>
    <dgm:cxn modelId="{634DA6D6-713F-064A-8098-AF757F1AB54D}" type="presParOf" srcId="{146256B8-BF7C-8749-9F61-3B34A0FE2212}" destId="{18587F8A-3EF0-F940-BE28-C4739AA28FE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56BECA-E703-F543-A453-A90FA6E70909}">
      <dsp:nvSpPr>
        <dsp:cNvPr id="0" name=""/>
        <dsp:cNvSpPr/>
      </dsp:nvSpPr>
      <dsp:spPr>
        <a:xfrm>
          <a:off x="-5805715" y="-888569"/>
          <a:ext cx="6911847" cy="6911847"/>
        </a:xfrm>
        <a:prstGeom prst="blockArc">
          <a:avLst>
            <a:gd name="adj1" fmla="val 18900000"/>
            <a:gd name="adj2" fmla="val 2700000"/>
            <a:gd name="adj3" fmla="val 313"/>
          </a:avLst>
        </a:pr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234EE5-171F-D34A-AC24-D07F2BC4C685}">
      <dsp:nvSpPr>
        <dsp:cNvPr id="0" name=""/>
        <dsp:cNvSpPr/>
      </dsp:nvSpPr>
      <dsp:spPr>
        <a:xfrm>
          <a:off x="412105" y="138507"/>
          <a:ext cx="5400782" cy="804353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290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0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Broad</a:t>
          </a:r>
          <a:r>
            <a:rPr lang="en-US" sz="1600" b="1" kern="1200" baseline="0" dirty="0"/>
            <a:t> geographical scope </a:t>
          </a:r>
          <a:r>
            <a:rPr lang="mr-IN" sz="1600" b="0" kern="1200" baseline="0" dirty="0"/>
            <a:t>–</a:t>
          </a:r>
          <a:r>
            <a:rPr lang="en-US" sz="1600" b="0" kern="1200" baseline="0" dirty="0"/>
            <a:t> up to 130 countries covered in MPP </a:t>
          </a:r>
          <a:r>
            <a:rPr lang="en-US" sz="1600" b="0" kern="1200" baseline="0" dirty="0" err="1"/>
            <a:t>licences</a:t>
          </a:r>
          <a:r>
            <a:rPr lang="en-US" sz="1600" b="0" kern="1200" baseline="0" dirty="0"/>
            <a:t>, including large number of middle-income countries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0" kern="1200" dirty="0"/>
        </a:p>
      </dsp:txBody>
      <dsp:txXfrm>
        <a:off x="412105" y="138507"/>
        <a:ext cx="5400782" cy="804353"/>
      </dsp:txXfrm>
    </dsp:sp>
    <dsp:sp modelId="{8C5BB79A-05E2-7A4D-BE07-95F10AA63E54}">
      <dsp:nvSpPr>
        <dsp:cNvPr id="0" name=""/>
        <dsp:cNvSpPr/>
      </dsp:nvSpPr>
      <dsp:spPr>
        <a:xfrm>
          <a:off x="74241" y="202820"/>
          <a:ext cx="675727" cy="675727"/>
        </a:xfrm>
        <a:prstGeom prst="ellipse">
          <a:avLst/>
        </a:prstGeom>
        <a:solidFill>
          <a:srgbClr val="5DA1A7"/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695FEB-8284-8D47-B1D5-3C6550C1B5A9}">
      <dsp:nvSpPr>
        <dsp:cNvPr id="0" name=""/>
        <dsp:cNvSpPr/>
      </dsp:nvSpPr>
      <dsp:spPr>
        <a:xfrm>
          <a:off x="856771" y="1081164"/>
          <a:ext cx="4956116" cy="540582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290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0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Transparent</a:t>
          </a:r>
          <a:r>
            <a:rPr lang="en-US" sz="1600" b="0" kern="1200" dirty="0"/>
            <a:t> </a:t>
          </a:r>
          <a:r>
            <a:rPr lang="mr-IN" sz="1600" b="0" kern="1200" dirty="0"/>
            <a:t>–</a:t>
          </a:r>
          <a:r>
            <a:rPr lang="en-US" sz="1600" b="0" kern="1200" dirty="0"/>
            <a:t> all </a:t>
          </a:r>
          <a:r>
            <a:rPr lang="en-US" sz="1600" b="0" kern="1200" dirty="0" err="1"/>
            <a:t>licences</a:t>
          </a:r>
          <a:r>
            <a:rPr lang="en-US" sz="1600" b="0" kern="1200" dirty="0"/>
            <a:t> are public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0" kern="1200" dirty="0"/>
        </a:p>
      </dsp:txBody>
      <dsp:txXfrm>
        <a:off x="856771" y="1081164"/>
        <a:ext cx="4956116" cy="540582"/>
      </dsp:txXfrm>
    </dsp:sp>
    <dsp:sp modelId="{FE04DC37-7E5A-074E-B20C-137407600691}">
      <dsp:nvSpPr>
        <dsp:cNvPr id="0" name=""/>
        <dsp:cNvSpPr/>
      </dsp:nvSpPr>
      <dsp:spPr>
        <a:xfrm>
          <a:off x="518907" y="1013591"/>
          <a:ext cx="675727" cy="675727"/>
        </a:xfrm>
        <a:prstGeom prst="ellipse">
          <a:avLst/>
        </a:prstGeom>
        <a:solidFill>
          <a:srgbClr val="3A5895"/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DBD53A-87AE-7F42-9BB0-099DB1F60826}">
      <dsp:nvSpPr>
        <dsp:cNvPr id="0" name=""/>
        <dsp:cNvSpPr/>
      </dsp:nvSpPr>
      <dsp:spPr>
        <a:xfrm>
          <a:off x="1060105" y="1701255"/>
          <a:ext cx="4752781" cy="921941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290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Non-exclusive</a:t>
          </a:r>
          <a:r>
            <a:rPr lang="en-US" sz="1600" b="1" kern="1200" baseline="0" dirty="0"/>
            <a:t> </a:t>
          </a:r>
          <a:r>
            <a:rPr lang="en-US" sz="1600" b="0" kern="1200" baseline="0" dirty="0"/>
            <a:t>to encourage competition; licensees selected through rigorous expression of interest process</a:t>
          </a:r>
          <a:endParaRPr lang="en-US" sz="1600" b="0" kern="1200" dirty="0"/>
        </a:p>
      </dsp:txBody>
      <dsp:txXfrm>
        <a:off x="1060105" y="1701255"/>
        <a:ext cx="4752781" cy="921941"/>
      </dsp:txXfrm>
    </dsp:sp>
    <dsp:sp modelId="{CA7633B7-DC48-9944-A6F1-4BD785675DDF}">
      <dsp:nvSpPr>
        <dsp:cNvPr id="0" name=""/>
        <dsp:cNvSpPr/>
      </dsp:nvSpPr>
      <dsp:spPr>
        <a:xfrm>
          <a:off x="722242" y="1824361"/>
          <a:ext cx="675727" cy="675727"/>
        </a:xfrm>
        <a:prstGeom prst="ellipse">
          <a:avLst/>
        </a:prstGeom>
        <a:solidFill>
          <a:srgbClr val="5DA1A7"/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F0DF05-0D85-D942-9FE8-054048E4162C}">
      <dsp:nvSpPr>
        <dsp:cNvPr id="0" name=""/>
        <dsp:cNvSpPr/>
      </dsp:nvSpPr>
      <dsp:spPr>
        <a:xfrm>
          <a:off x="1060105" y="2702191"/>
          <a:ext cx="4752781" cy="540582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290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Strict quality</a:t>
          </a:r>
          <a:r>
            <a:rPr lang="en-US" sz="1600" b="1" kern="1200" baseline="0" dirty="0"/>
            <a:t> assurance </a:t>
          </a:r>
          <a:r>
            <a:rPr lang="en-US" sz="1600" b="0" kern="1200" baseline="0" dirty="0"/>
            <a:t>(WHO PQ, SRA or ERP)</a:t>
          </a:r>
          <a:endParaRPr lang="en-US" sz="1600" b="0" kern="1200" dirty="0"/>
        </a:p>
      </dsp:txBody>
      <dsp:txXfrm>
        <a:off x="1060105" y="2702191"/>
        <a:ext cx="4752781" cy="540582"/>
      </dsp:txXfrm>
    </dsp:sp>
    <dsp:sp modelId="{B96C97E9-AA75-F944-B056-3E6B6C54DCAF}">
      <dsp:nvSpPr>
        <dsp:cNvPr id="0" name=""/>
        <dsp:cNvSpPr/>
      </dsp:nvSpPr>
      <dsp:spPr>
        <a:xfrm>
          <a:off x="722242" y="2634618"/>
          <a:ext cx="675727" cy="675727"/>
        </a:xfrm>
        <a:prstGeom prst="ellipse">
          <a:avLst/>
        </a:prstGeom>
        <a:solidFill>
          <a:srgbClr val="4A9BA6"/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2335D3-0F6A-8740-9FBD-F60FFD2128E0}">
      <dsp:nvSpPr>
        <dsp:cNvPr id="0" name=""/>
        <dsp:cNvSpPr/>
      </dsp:nvSpPr>
      <dsp:spPr>
        <a:xfrm>
          <a:off x="856771" y="3512961"/>
          <a:ext cx="4956116" cy="540582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290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 err="1"/>
            <a:t>Faclitate</a:t>
          </a:r>
          <a:r>
            <a:rPr lang="en-US" sz="1600" b="1" kern="1200" dirty="0"/>
            <a:t> development </a:t>
          </a:r>
          <a:r>
            <a:rPr lang="en-US" sz="1600" b="0" kern="1200" dirty="0"/>
            <a:t>of new fixed dose combinations and </a:t>
          </a:r>
          <a:r>
            <a:rPr lang="en-US" sz="1600" b="0" kern="1200" dirty="0" err="1"/>
            <a:t>paediatric</a:t>
          </a:r>
          <a:r>
            <a:rPr lang="en-US" sz="1600" b="0" kern="1200" dirty="0"/>
            <a:t> formulations</a:t>
          </a:r>
        </a:p>
      </dsp:txBody>
      <dsp:txXfrm>
        <a:off x="856771" y="3512961"/>
        <a:ext cx="4956116" cy="540582"/>
      </dsp:txXfrm>
    </dsp:sp>
    <dsp:sp modelId="{6BC38759-8AEA-CA4A-B2C8-6919434DC42C}">
      <dsp:nvSpPr>
        <dsp:cNvPr id="0" name=""/>
        <dsp:cNvSpPr/>
      </dsp:nvSpPr>
      <dsp:spPr>
        <a:xfrm>
          <a:off x="518907" y="3445389"/>
          <a:ext cx="675727" cy="675727"/>
        </a:xfrm>
        <a:prstGeom prst="ellipse">
          <a:avLst/>
        </a:prstGeom>
        <a:solidFill>
          <a:srgbClr val="3A5895"/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9D329B-E208-7047-8AE0-4F8D7D2A4478}">
      <dsp:nvSpPr>
        <dsp:cNvPr id="0" name=""/>
        <dsp:cNvSpPr/>
      </dsp:nvSpPr>
      <dsp:spPr>
        <a:xfrm>
          <a:off x="412105" y="4323732"/>
          <a:ext cx="5400782" cy="540582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29087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Complementary</a:t>
          </a:r>
          <a:r>
            <a:rPr lang="en-US" sz="1600" b="0" kern="1200" dirty="0"/>
            <a:t> to other access programs and strategies</a:t>
          </a:r>
        </a:p>
      </dsp:txBody>
      <dsp:txXfrm>
        <a:off x="412105" y="4323732"/>
        <a:ext cx="5400782" cy="540582"/>
      </dsp:txXfrm>
    </dsp:sp>
    <dsp:sp modelId="{18587F8A-3EF0-F940-BE28-C4739AA28FEE}">
      <dsp:nvSpPr>
        <dsp:cNvPr id="0" name=""/>
        <dsp:cNvSpPr/>
      </dsp:nvSpPr>
      <dsp:spPr>
        <a:xfrm>
          <a:off x="74241" y="4256159"/>
          <a:ext cx="675727" cy="675727"/>
        </a:xfrm>
        <a:prstGeom prst="ellipse">
          <a:avLst/>
        </a:prstGeom>
        <a:solidFill>
          <a:schemeClr val="accent5">
            <a:lumMod val="7500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1F8DE0-38D9-4044-963D-6C2643368A2A}" type="datetimeFigureOut">
              <a:rPr lang="en-US" smtClean="0"/>
              <a:t>7/24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474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8" y="9119474"/>
            <a:ext cx="3169920" cy="4817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BDD4A-00B0-5F40-9767-BAE54D2059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0315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6DBDAAC-F46C-5944-851F-99392BC873EA}" type="datetimeFigureOut">
              <a:rPr lang="en-US"/>
              <a:pPr>
                <a:defRPr/>
              </a:pPr>
              <a:t>7/24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EECA678-2983-4745-B8ED-8210676FE9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3413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0976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916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3976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78131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50382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8063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540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92389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6603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58409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4669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50799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9544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12960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pda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722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49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100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110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3427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61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8287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9418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68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ECA678-2983-4745-B8ED-8210676FE986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40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199" y="1524000"/>
            <a:ext cx="8043701" cy="4603751"/>
          </a:xfrm>
        </p:spPr>
        <p:txBody>
          <a:bodyPr/>
          <a:lstStyle/>
          <a:p>
            <a:pPr lvl="0"/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</a:t>
            </a:r>
            <a:r>
              <a:rPr lang="es-ES_tradnl" dirty="0" err="1"/>
              <a:t>Master</a:t>
            </a:r>
            <a:r>
              <a:rPr lang="es-ES_tradnl" dirty="0"/>
              <a:t> </a:t>
            </a:r>
            <a:r>
              <a:rPr lang="es-ES_tradnl" dirty="0" err="1"/>
              <a:t>text</a:t>
            </a:r>
            <a:r>
              <a:rPr lang="es-ES_tradnl" dirty="0"/>
              <a:t> </a:t>
            </a:r>
            <a:r>
              <a:rPr lang="es-ES_tradnl" dirty="0" err="1"/>
              <a:t>styles</a:t>
            </a:r>
            <a:endParaRPr lang="es-ES_tradnl" dirty="0"/>
          </a:p>
          <a:p>
            <a:pPr lvl="1"/>
            <a:r>
              <a:rPr lang="es-ES_tradnl" dirty="0" err="1"/>
              <a:t>Secon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2"/>
            <a:r>
              <a:rPr lang="es-ES_tradnl" dirty="0" err="1"/>
              <a:t>Thir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3"/>
            <a:r>
              <a:rPr lang="es-ES_tradnl" dirty="0" err="1"/>
              <a:t>Four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4"/>
            <a:r>
              <a:rPr lang="es-ES_tradnl" dirty="0" err="1"/>
              <a:t>Fif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2150" y="195655"/>
            <a:ext cx="6924675" cy="572076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</a:t>
            </a:r>
            <a:r>
              <a:rPr lang="es-ES_tradnl" dirty="0" err="1"/>
              <a:t>Master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164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199" y="1524000"/>
            <a:ext cx="7886701" cy="4838700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</a:t>
            </a:r>
            <a:r>
              <a:rPr lang="es-ES_tradnl" dirty="0" err="1"/>
              <a:t>Master</a:t>
            </a:r>
            <a:r>
              <a:rPr lang="es-ES_tradnl" dirty="0"/>
              <a:t> </a:t>
            </a:r>
            <a:r>
              <a:rPr lang="es-ES_tradnl" dirty="0" err="1"/>
              <a:t>text</a:t>
            </a:r>
            <a:r>
              <a:rPr lang="es-ES_tradnl" dirty="0"/>
              <a:t> </a:t>
            </a:r>
            <a:r>
              <a:rPr lang="es-ES_tradnl" dirty="0" err="1"/>
              <a:t>styles</a:t>
            </a:r>
            <a:endParaRPr lang="es-ES_tradnl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71675" y="195655"/>
            <a:ext cx="6915150" cy="572076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</a:t>
            </a:r>
            <a:r>
              <a:rPr lang="es-ES_tradnl" dirty="0" err="1"/>
              <a:t>Master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318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MPP-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90700" y="2647949"/>
            <a:ext cx="6667500" cy="1114425"/>
          </a:xfrm>
          <a:prstGeom prst="rect">
            <a:avLst/>
          </a:prstGeom>
        </p:spPr>
        <p:txBody>
          <a:bodyPr anchor="t"/>
          <a:lstStyle>
            <a:lvl1pPr algn="l">
              <a:defRPr sz="3200">
                <a:solidFill>
                  <a:srgbClr val="F2F9FB"/>
                </a:solidFill>
                <a:latin typeface="Calibri" pitchFamily="34" charset="0"/>
              </a:defRPr>
            </a:lvl1pPr>
          </a:lstStyle>
          <a:p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0700" y="3886200"/>
            <a:ext cx="6667500" cy="1752600"/>
          </a:xfrm>
        </p:spPr>
        <p:txBody>
          <a:bodyPr/>
          <a:lstStyle>
            <a:lvl1pPr marL="0" indent="0" algn="l">
              <a:buNone/>
              <a:defRPr sz="2800">
                <a:solidFill>
                  <a:srgbClr val="F2F9FB"/>
                </a:solidFill>
                <a:latin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sub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921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16F721-8C6F-8E4A-8A53-EBEB1F43B6B9}" type="datetimeFigureOut">
              <a:rPr lang="en-US"/>
              <a:pPr>
                <a:defRPr/>
              </a:pPr>
              <a:t>7/24/18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38C597-EBF0-2644-9B80-310A1A4049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183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projet_1-PPT_MPP-8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877098"/>
          </a:xfrm>
          <a:prstGeom prst="rect">
            <a:avLst/>
          </a:prstGeom>
        </p:spPr>
      </p:pic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68300" y="1600200"/>
            <a:ext cx="83185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ext</a:t>
            </a:r>
            <a:r>
              <a:rPr lang="es-ES_tradnl" dirty="0"/>
              <a:t> </a:t>
            </a:r>
            <a:r>
              <a:rPr lang="es-ES_tradnl" dirty="0" err="1"/>
              <a:t>styles</a:t>
            </a:r>
            <a:endParaRPr lang="es-ES_tradnl" dirty="0"/>
          </a:p>
          <a:p>
            <a:pPr lvl="1"/>
            <a:r>
              <a:rPr lang="es-ES_tradnl" dirty="0" err="1"/>
              <a:t>Secon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2"/>
            <a:r>
              <a:rPr lang="es-ES_tradnl" dirty="0" err="1"/>
              <a:t>Thir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3"/>
            <a:r>
              <a:rPr lang="es-ES_tradnl" dirty="0" err="1"/>
              <a:t>Four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4"/>
            <a:r>
              <a:rPr lang="es-ES_tradnl" dirty="0" err="1"/>
              <a:t>Fif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n-US" dirty="0"/>
          </a:p>
        </p:txBody>
      </p:sp>
      <p:sp>
        <p:nvSpPr>
          <p:cNvPr id="1032" name="Title Placeholder 6"/>
          <p:cNvSpPr>
            <a:spLocks noGrp="1"/>
          </p:cNvSpPr>
          <p:nvPr>
            <p:ph type="title"/>
          </p:nvPr>
        </p:nvSpPr>
        <p:spPr bwMode="auto">
          <a:xfrm>
            <a:off x="1952625" y="194473"/>
            <a:ext cx="6924675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</p:sldLayoutIdLst>
  <p:txStyles>
    <p:titleStyle>
      <a:lvl1pPr algn="r" defTabSz="457200" rtl="0" eaLnBrk="1" fontAlgn="base" hangingPunct="1">
        <a:spcBef>
          <a:spcPct val="0"/>
        </a:spcBef>
        <a:spcAft>
          <a:spcPct val="0"/>
        </a:spcAft>
        <a:defRPr sz="2400" kern="1200" cap="none" baseline="0">
          <a:solidFill>
            <a:schemeClr val="bg1"/>
          </a:solidFill>
          <a:latin typeface="Calibri" pitchFamily="34" charset="0"/>
          <a:ea typeface="ＭＳ Ｐゴシック" charset="0"/>
          <a:cs typeface="Calibri" pitchFamily="34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3600">
          <a:solidFill>
            <a:srgbClr val="000090"/>
          </a:solidFill>
          <a:latin typeface="Trebuchet MS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Calibri" pitchFamily="34" charset="0"/>
          <a:ea typeface="ＭＳ Ｐゴシック" charset="0"/>
          <a:cs typeface="Calibri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Calibri" pitchFamily="34" charset="0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Calibri" pitchFamily="34" charset="0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Calibri" pitchFamily="34" charset="0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chemeClr val="tx1">
              <a:lumMod val="65000"/>
              <a:lumOff val="35000"/>
            </a:schemeClr>
          </a:solidFill>
          <a:latin typeface="Calibri" pitchFamily="34" charset="0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0" Type="http://schemas.openxmlformats.org/officeDocument/2006/relationships/image" Target="../media/image25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emf"/><Relationship Id="rId4" Type="http://schemas.openxmlformats.org/officeDocument/2006/relationships/image" Target="../media/image3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gi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cinespatentpool.org/uploads/2018/06/Final-MPP-Statemen.pdf" TargetMode="External"/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3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tif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tiff"/><Relationship Id="rId4" Type="http://schemas.openxmlformats.org/officeDocument/2006/relationships/image" Target="../media/image8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/>
          <p:cNvSpPr>
            <a:spLocks noGrp="1"/>
          </p:cNvSpPr>
          <p:nvPr>
            <p:ph type="ctrTitle"/>
          </p:nvPr>
        </p:nvSpPr>
        <p:spPr>
          <a:xfrm>
            <a:off x="1122744" y="2627589"/>
            <a:ext cx="7335456" cy="2140941"/>
          </a:xfrm>
        </p:spPr>
        <p:txBody>
          <a:bodyPr/>
          <a:lstStyle/>
          <a:p>
            <a:r>
              <a:rPr lang="en-US" b="1" cap="none" dirty="0"/>
              <a:t>Accelerating Access to new WHO-Recommended </a:t>
            </a:r>
            <a:r>
              <a:rPr lang="en-US" b="1" dirty="0"/>
              <a:t>G</a:t>
            </a:r>
            <a:r>
              <a:rPr lang="en-US" b="1" cap="none" dirty="0"/>
              <a:t>eneric </a:t>
            </a:r>
            <a:r>
              <a:rPr lang="en-US" b="1" dirty="0"/>
              <a:t>M</a:t>
            </a:r>
            <a:r>
              <a:rPr lang="en-US" b="1" cap="none" dirty="0"/>
              <a:t>edicines and Formulations</a:t>
            </a:r>
            <a:br>
              <a:rPr lang="en-GB" sz="2400" cap="none" dirty="0"/>
            </a:br>
            <a:br>
              <a:rPr lang="en-GB" sz="2400" cap="none" dirty="0"/>
            </a:br>
            <a:r>
              <a:rPr lang="en-GB" sz="2400" cap="none" dirty="0"/>
              <a:t>Esteban Burrone and </a:t>
            </a:r>
            <a:r>
              <a:rPr lang="en-GB" sz="2400" cap="none" dirty="0" err="1"/>
              <a:t>Aastha</a:t>
            </a:r>
            <a:r>
              <a:rPr lang="en-GB" sz="2400" cap="none" dirty="0"/>
              <a:t> Gupta</a:t>
            </a:r>
            <a:br>
              <a:rPr lang="en-GB" sz="2400" cap="none" dirty="0"/>
            </a:br>
            <a:r>
              <a:rPr lang="en-GB" sz="2400" cap="none" dirty="0"/>
              <a:t>Medicines Patent Pool</a:t>
            </a:r>
            <a:br>
              <a:rPr lang="en-GB" sz="2400" cap="none" dirty="0"/>
            </a:br>
            <a:br>
              <a:rPr lang="en-GB" sz="2400" cap="none" dirty="0"/>
            </a:br>
            <a:r>
              <a:rPr lang="en-GB" sz="2000" dirty="0">
                <a:solidFill>
                  <a:schemeClr val="bg1"/>
                </a:solidFill>
              </a:rPr>
              <a:t>July </a:t>
            </a:r>
            <a:r>
              <a:rPr lang="en-GB" sz="2000" cap="none" dirty="0">
                <a:solidFill>
                  <a:schemeClr val="bg1"/>
                </a:solidFill>
              </a:rPr>
              <a:t>2018</a:t>
            </a:r>
            <a:endParaRPr lang="en-GB" cap="non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184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utoShape 10" descr="http://www.microlabsltd.com/images/logo1.pn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ea typeface="ＭＳ Ｐゴシック" charset="0"/>
            </a:endParaRPr>
          </a:p>
        </p:txBody>
      </p:sp>
      <p:sp>
        <p:nvSpPr>
          <p:cNvPr id="3" name="AutoShape 2" descr="Image result for abbvie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AutoShape 4" descr="Image result for abbvie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AutoShape 7" descr="Image result for bms logo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AutoShape 10" descr="Image result for gilead logo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AutoShape 13" descr="Image result for merck logo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AutoShape 17" descr="Image result for viiv logo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3" name="Rounded Rectangle 29"/>
          <p:cNvSpPr/>
          <p:nvPr/>
        </p:nvSpPr>
        <p:spPr>
          <a:xfrm>
            <a:off x="2552902" y="1152411"/>
            <a:ext cx="2009304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azanavir</a:t>
            </a:r>
          </a:p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clatasvir (HCV)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743155" y="1039513"/>
            <a:ext cx="1621301" cy="2121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149776" y="1152412"/>
            <a:ext cx="2224805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pinavir</a:t>
            </a:r>
          </a:p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tonavir</a:t>
            </a:r>
          </a:p>
          <a:p>
            <a:pPr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separate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ediatrics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adults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cences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47" name="Picture 5" descr="C:\Users\agupta\Desktop\download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357" y="931718"/>
            <a:ext cx="1212990" cy="3465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8" descr="C:\Users\agupta\Desktop\download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7895" y="969003"/>
            <a:ext cx="1522683" cy="3483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ounded Rectangle 32"/>
          <p:cNvSpPr/>
          <p:nvPr/>
        </p:nvSpPr>
        <p:spPr>
          <a:xfrm>
            <a:off x="6863622" y="1162140"/>
            <a:ext cx="2224805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Bictegravir</a:t>
            </a:r>
            <a:endParaRPr lang="en-US" sz="12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114300" indent="-1143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Cobicistat</a:t>
            </a:r>
            <a:endParaRPr lang="en-US" sz="12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114300" indent="-1143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Elvitegravir</a:t>
            </a:r>
            <a:endParaRPr lang="en-US" sz="12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114300" indent="-1143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Emtricitabine</a:t>
            </a:r>
            <a:endParaRPr lang="en-US" sz="12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114300" indent="-1143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Tenofovir</a:t>
            </a:r>
            <a:r>
              <a:rPr lang="en-US" sz="12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Alafenamide</a:t>
            </a:r>
            <a:endParaRPr lang="en-US" sz="1200" dirty="0">
              <a:solidFill>
                <a:prstClr val="black"/>
              </a:solidFill>
              <a:cs typeface="Calibri" panose="020F0502020204030204" pitchFamily="34" charset="0"/>
            </a:endParaRPr>
          </a:p>
          <a:p>
            <a:pPr marL="114300" indent="-1143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Tenofovir</a:t>
            </a:r>
            <a:r>
              <a:rPr lang="en-US" sz="12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en-US" sz="1200" dirty="0" err="1">
                <a:solidFill>
                  <a:prstClr val="black"/>
                </a:solidFill>
                <a:cs typeface="Calibri" panose="020F0502020204030204" pitchFamily="34" charset="0"/>
              </a:rPr>
              <a:t>Disoproxil</a:t>
            </a:r>
            <a:endParaRPr lang="en-US" sz="12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pic>
        <p:nvPicPr>
          <p:cNvPr id="50" name="Picture 11" descr="C:\Users\agupta\Desktop\download (1)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4528" y="880603"/>
            <a:ext cx="1373942" cy="3977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Rounded Rectangle 43"/>
          <p:cNvSpPr/>
          <p:nvPr/>
        </p:nvSpPr>
        <p:spPr>
          <a:xfrm>
            <a:off x="2493723" y="5189669"/>
            <a:ext cx="2083530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ganciclo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pricing agreement)</a:t>
            </a:r>
          </a:p>
        </p:txBody>
      </p:sp>
      <p:pic>
        <p:nvPicPr>
          <p:cNvPr id="52" name="Picture 19" descr="C:\Users\agupta\Desktop\download (3)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9285" y="4911007"/>
            <a:ext cx="1102723" cy="5725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ounded Rectangle 30"/>
          <p:cNvSpPr/>
          <p:nvPr/>
        </p:nvSpPr>
        <p:spPr>
          <a:xfrm>
            <a:off x="149776" y="3228996"/>
            <a:ext cx="2224805" cy="13080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runa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ed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(non-assert)</a:t>
            </a:r>
          </a:p>
        </p:txBody>
      </p:sp>
      <p:pic>
        <p:nvPicPr>
          <p:cNvPr id="54" name="Picture 53" descr="C:\Users\agupta\Desktop\download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451" y="2897497"/>
            <a:ext cx="1222932" cy="52259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ounded Rectangle 33"/>
          <p:cNvSpPr/>
          <p:nvPr/>
        </p:nvSpPr>
        <p:spPr>
          <a:xfrm>
            <a:off x="4740527" y="3228995"/>
            <a:ext cx="1941002" cy="13080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ltegra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ed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56" name="Picture 14" descr="C:\Users\agupta\Desktop\download (2)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24025" y="3035798"/>
            <a:ext cx="1304359" cy="37445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Rounded Rectangle 36"/>
          <p:cNvSpPr/>
          <p:nvPr/>
        </p:nvSpPr>
        <p:spPr>
          <a:xfrm>
            <a:off x="6863622" y="5167946"/>
            <a:ext cx="2224805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1143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aca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ed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1143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lutegra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ed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1143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lutegra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adults)</a:t>
            </a:r>
          </a:p>
        </p:txBody>
      </p:sp>
      <p:pic>
        <p:nvPicPr>
          <p:cNvPr id="58" name="Picture 18" descr="C:\Users\agupta\Desktop\download (2)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2989" y="4919578"/>
            <a:ext cx="839900" cy="4967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ounded Rectangle 29"/>
          <p:cNvSpPr/>
          <p:nvPr/>
        </p:nvSpPr>
        <p:spPr>
          <a:xfrm>
            <a:off x="4742413" y="1133833"/>
            <a:ext cx="1941002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virapine </a:t>
            </a:r>
          </a:p>
          <a:p>
            <a:pPr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non-assert)</a:t>
            </a: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984" b="13138"/>
          <a:stretch/>
        </p:blipFill>
        <p:spPr>
          <a:xfrm>
            <a:off x="4994651" y="932206"/>
            <a:ext cx="1295563" cy="404163"/>
          </a:xfrm>
          <a:prstGeom prst="rect">
            <a:avLst/>
          </a:prstGeom>
        </p:spPr>
      </p:pic>
      <p:sp>
        <p:nvSpPr>
          <p:cNvPr id="61" name="Rounded Rectangle 39"/>
          <p:cNvSpPr/>
          <p:nvPr/>
        </p:nvSpPr>
        <p:spPr>
          <a:xfrm>
            <a:off x="6863622" y="3228996"/>
            <a:ext cx="2224805" cy="13080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runa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lated</a:t>
            </a:r>
          </a:p>
        </p:txBody>
      </p:sp>
      <p:pic>
        <p:nvPicPr>
          <p:cNvPr id="62" name="Picture 15" descr="C:\Users\agupta\Desktop\download (1)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1910" y="3004824"/>
            <a:ext cx="897357" cy="4967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ounded Rectangle 27"/>
          <p:cNvSpPr/>
          <p:nvPr/>
        </p:nvSpPr>
        <p:spPr>
          <a:xfrm>
            <a:off x="4707242" y="5206169"/>
            <a:ext cx="1989334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id drug nanoparticles technology for HIV</a:t>
            </a:r>
          </a:p>
        </p:txBody>
      </p:sp>
      <p:pic>
        <p:nvPicPr>
          <p:cNvPr id="64" name="Picture 2" descr="C:\Users\Yao Cheng\Pictures\LU.png"/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69884" y="4862833"/>
            <a:ext cx="1593025" cy="572344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65" name="Rounded Rectangle 33"/>
          <p:cNvSpPr/>
          <p:nvPr/>
        </p:nvSpPr>
        <p:spPr>
          <a:xfrm>
            <a:off x="2552902" y="3228994"/>
            <a:ext cx="2009304" cy="130809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tezolid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TB)</a:t>
            </a: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54" t="28661" r="10356" b="31905"/>
          <a:stretch/>
        </p:blipFill>
        <p:spPr>
          <a:xfrm>
            <a:off x="2734763" y="2996001"/>
            <a:ext cx="1652620" cy="505559"/>
          </a:xfrm>
          <a:prstGeom prst="rect">
            <a:avLst/>
          </a:prstGeom>
        </p:spPr>
      </p:pic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2089412" y="159223"/>
            <a:ext cx="6924675" cy="572076"/>
          </a:xfrm>
        </p:spPr>
        <p:txBody>
          <a:bodyPr/>
          <a:lstStyle/>
          <a:p>
            <a:r>
              <a:rPr lang="en-US" cap="none" dirty="0"/>
              <a:t>MPP’s Partnership with Patent Holders</a:t>
            </a:r>
          </a:p>
        </p:txBody>
      </p:sp>
      <p:sp>
        <p:nvSpPr>
          <p:cNvPr id="34" name="Rounded Rectangle 30"/>
          <p:cNvSpPr/>
          <p:nvPr/>
        </p:nvSpPr>
        <p:spPr>
          <a:xfrm>
            <a:off x="149775" y="5189669"/>
            <a:ext cx="2224805" cy="149055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defTabSz="4572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vidasvir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HCV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463" y="4856614"/>
            <a:ext cx="1350823" cy="699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037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"/>
          <p:cNvSpPr>
            <a:spLocks noGrp="1"/>
          </p:cNvSpPr>
          <p:nvPr>
            <p:ph type="title"/>
          </p:nvPr>
        </p:nvSpPr>
        <p:spPr>
          <a:xfrm>
            <a:off x="2849527" y="195655"/>
            <a:ext cx="6037299" cy="572076"/>
          </a:xfrm>
        </p:spPr>
        <p:txBody>
          <a:bodyPr/>
          <a:lstStyle/>
          <a:p>
            <a:r>
              <a:rPr lang="en-GB" cap="none" dirty="0"/>
              <a:t>Snapshot of MPP Sub-Licence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797397" y="6139533"/>
            <a:ext cx="8171492" cy="477220"/>
          </a:xfrm>
          <a:prstGeom prst="roundRect">
            <a:avLst/>
          </a:prstGeom>
          <a:solidFill>
            <a:srgbClr val="F2F9FB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00" dirty="0">
                <a:solidFill>
                  <a:prstClr val="black"/>
                </a:solidFill>
                <a:latin typeface="Trebuchet MS"/>
              </a:rPr>
              <a:t>94 sub-licences with 24 manufacturers; 140+ active projec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318CEA-5039-4DF9-A110-F9CC49BE49BD}"/>
              </a:ext>
            </a:extLst>
          </p:cNvPr>
          <p:cNvSpPr txBox="1"/>
          <p:nvPr/>
        </p:nvSpPr>
        <p:spPr>
          <a:xfrm>
            <a:off x="6923" y="6613808"/>
            <a:ext cx="24106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*MOU executed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D525898-2C6E-45C1-88BE-5700359623E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12" y="1723159"/>
            <a:ext cx="8141646" cy="42300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7BCA6A-5E51-4E6D-B711-96C6738D389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18" y="1766426"/>
            <a:ext cx="729092" cy="41205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54EEEDD-FE16-4FB9-9659-96AC598185A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8504" y="822575"/>
            <a:ext cx="7319245" cy="907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23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A7AF654-F846-4EFC-A874-1D09711E3B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830" y="2030506"/>
            <a:ext cx="8698995" cy="318391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riangle Charts: A Snapshot</a:t>
            </a:r>
            <a:endParaRPr lang="en-GB" cap="none" baseline="30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24ED6C-03B4-45AC-ACD2-EFF77B4DDB94}"/>
              </a:ext>
            </a:extLst>
          </p:cNvPr>
          <p:cNvSpPr txBox="1"/>
          <p:nvPr/>
        </p:nvSpPr>
        <p:spPr>
          <a:xfrm>
            <a:off x="373357" y="1006408"/>
            <a:ext cx="86972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Triangle charts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epresent a comparative analysis of each MPP licensee on filings with USFDA and WHO-PQ for each product </a:t>
            </a: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9B50C0A9-3586-4EF2-9D92-F3520C2826C8}"/>
              </a:ext>
            </a:extLst>
          </p:cNvPr>
          <p:cNvSpPr/>
          <p:nvPr/>
        </p:nvSpPr>
        <p:spPr>
          <a:xfrm>
            <a:off x="2591671" y="2848386"/>
            <a:ext cx="329184" cy="329184"/>
          </a:xfrm>
          <a:prstGeom prst="donut">
            <a:avLst>
              <a:gd name="adj" fmla="val 4822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Rounded Rectangle 10">
            <a:extLst>
              <a:ext uri="{FF2B5EF4-FFF2-40B4-BE49-F238E27FC236}">
                <a16:creationId xmlns:a16="http://schemas.microsoft.com/office/drawing/2014/main" id="{754ABD47-6AB1-4CCB-8D82-3FACEB901347}"/>
              </a:ext>
            </a:extLst>
          </p:cNvPr>
          <p:cNvSpPr/>
          <p:nvPr/>
        </p:nvSpPr>
        <p:spPr>
          <a:xfrm>
            <a:off x="2434936" y="5804372"/>
            <a:ext cx="4494184" cy="60587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ee following slides for explanation</a:t>
            </a:r>
          </a:p>
        </p:txBody>
      </p:sp>
    </p:spTree>
    <p:extLst>
      <p:ext uri="{BB962C8B-B14F-4D97-AF65-F5344CB8AC3E}">
        <p14:creationId xmlns:p14="http://schemas.microsoft.com/office/powerpoint/2010/main" val="24124680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A7AF654-F846-4EFC-A874-1D09711E3B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19" y="2498228"/>
            <a:ext cx="8698995" cy="318391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riangle Charts Explained (1/5) </a:t>
            </a:r>
            <a:endParaRPr lang="en-GB" cap="none" baseline="30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11415B-E557-409B-B32E-35CA23C7436D}"/>
              </a:ext>
            </a:extLst>
          </p:cNvPr>
          <p:cNvSpPr/>
          <p:nvPr/>
        </p:nvSpPr>
        <p:spPr>
          <a:xfrm>
            <a:off x="1449659" y="2692277"/>
            <a:ext cx="6339468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8F18E7-64AA-44C6-A1CB-F9CDB9392675}"/>
              </a:ext>
            </a:extLst>
          </p:cNvPr>
          <p:cNvSpPr/>
          <p:nvPr/>
        </p:nvSpPr>
        <p:spPr>
          <a:xfrm>
            <a:off x="1323279" y="3344417"/>
            <a:ext cx="6172200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C7F41B-AC63-4602-8DC2-2251C82EC134}"/>
              </a:ext>
            </a:extLst>
          </p:cNvPr>
          <p:cNvSpPr/>
          <p:nvPr/>
        </p:nvSpPr>
        <p:spPr>
          <a:xfrm>
            <a:off x="453784" y="4704080"/>
            <a:ext cx="8405463" cy="724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ECB837CF-31E5-44BB-A204-4D63CE77A030}"/>
              </a:ext>
            </a:extLst>
          </p:cNvPr>
          <p:cNvSpPr/>
          <p:nvPr/>
        </p:nvSpPr>
        <p:spPr>
          <a:xfrm>
            <a:off x="2118732" y="4630986"/>
            <a:ext cx="6112959" cy="33453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Double Brace 16">
            <a:extLst>
              <a:ext uri="{FF2B5EF4-FFF2-40B4-BE49-F238E27FC236}">
                <a16:creationId xmlns:a16="http://schemas.microsoft.com/office/drawing/2014/main" id="{4FD468EB-8951-43D9-AA39-4A0C972810F0}"/>
              </a:ext>
            </a:extLst>
          </p:cNvPr>
          <p:cNvSpPr/>
          <p:nvPr/>
        </p:nvSpPr>
        <p:spPr>
          <a:xfrm>
            <a:off x="62395" y="2659599"/>
            <a:ext cx="1505147" cy="1047843"/>
          </a:xfrm>
          <a:prstGeom prst="brace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CF3995B0-6096-40DD-AD32-CDFB5F9C0446}"/>
              </a:ext>
            </a:extLst>
          </p:cNvPr>
          <p:cNvSpPr/>
          <p:nvPr/>
        </p:nvSpPr>
        <p:spPr>
          <a:xfrm>
            <a:off x="594917" y="2110658"/>
            <a:ext cx="379141" cy="546410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289E26-A9F9-4C07-A69B-C9476E26FEC3}"/>
              </a:ext>
            </a:extLst>
          </p:cNvPr>
          <p:cNvSpPr txBox="1"/>
          <p:nvPr/>
        </p:nvSpPr>
        <p:spPr>
          <a:xfrm>
            <a:off x="109421" y="1752318"/>
            <a:ext cx="2245770" cy="5847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Filing of generics with </a:t>
            </a:r>
          </a:p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WHO-PQ and/or USFDA</a:t>
            </a:r>
          </a:p>
        </p:txBody>
      </p:sp>
    </p:spTree>
    <p:extLst>
      <p:ext uri="{BB962C8B-B14F-4D97-AF65-F5344CB8AC3E}">
        <p14:creationId xmlns:p14="http://schemas.microsoft.com/office/powerpoint/2010/main" val="3318025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A7AF654-F846-4EFC-A874-1D09711E3B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19" y="2498228"/>
            <a:ext cx="8698995" cy="318391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riangle Charts Explained (2/5) </a:t>
            </a:r>
            <a:endParaRPr lang="en-GB" cap="none" baseline="30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11415B-E557-409B-B32E-35CA23C7436D}"/>
              </a:ext>
            </a:extLst>
          </p:cNvPr>
          <p:cNvSpPr/>
          <p:nvPr/>
        </p:nvSpPr>
        <p:spPr>
          <a:xfrm>
            <a:off x="2153919" y="2687052"/>
            <a:ext cx="5635207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8F18E7-64AA-44C6-A1CB-F9CDB9392675}"/>
              </a:ext>
            </a:extLst>
          </p:cNvPr>
          <p:cNvSpPr/>
          <p:nvPr/>
        </p:nvSpPr>
        <p:spPr>
          <a:xfrm>
            <a:off x="1971675" y="3333967"/>
            <a:ext cx="5523803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C7F41B-AC63-4602-8DC2-2251C82EC134}"/>
              </a:ext>
            </a:extLst>
          </p:cNvPr>
          <p:cNvSpPr/>
          <p:nvPr/>
        </p:nvSpPr>
        <p:spPr>
          <a:xfrm>
            <a:off x="2847703" y="4995237"/>
            <a:ext cx="5695406" cy="3657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D8B72DDC-CEFC-40B0-9C84-17F260DB08D3}"/>
              </a:ext>
            </a:extLst>
          </p:cNvPr>
          <p:cNvSpPr/>
          <p:nvPr/>
        </p:nvSpPr>
        <p:spPr>
          <a:xfrm>
            <a:off x="1592534" y="2085027"/>
            <a:ext cx="379141" cy="546410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7C7E13-1186-485E-88BA-8AFAB847A31D}"/>
              </a:ext>
            </a:extLst>
          </p:cNvPr>
          <p:cNvSpPr txBox="1"/>
          <p:nvPr/>
        </p:nvSpPr>
        <p:spPr>
          <a:xfrm>
            <a:off x="245329" y="1682320"/>
            <a:ext cx="3774688" cy="5847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No. of companies that received approval out of total companies filed with WHO/SRA</a:t>
            </a:r>
          </a:p>
        </p:txBody>
      </p:sp>
      <p:sp>
        <p:nvSpPr>
          <p:cNvPr id="16" name="Double Brace 15">
            <a:extLst>
              <a:ext uri="{FF2B5EF4-FFF2-40B4-BE49-F238E27FC236}">
                <a16:creationId xmlns:a16="http://schemas.microsoft.com/office/drawing/2014/main" id="{A8566222-A9AC-450B-A85E-2091D25D1368}"/>
              </a:ext>
            </a:extLst>
          </p:cNvPr>
          <p:cNvSpPr/>
          <p:nvPr/>
        </p:nvSpPr>
        <p:spPr>
          <a:xfrm>
            <a:off x="1379437" y="2540067"/>
            <a:ext cx="753235" cy="1261425"/>
          </a:xfrm>
          <a:prstGeom prst="brace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12E356-943F-48F2-9F5F-1B9CFC523C46}"/>
              </a:ext>
            </a:extLst>
          </p:cNvPr>
          <p:cNvSpPr/>
          <p:nvPr/>
        </p:nvSpPr>
        <p:spPr>
          <a:xfrm>
            <a:off x="434558" y="4581224"/>
            <a:ext cx="5695406" cy="3657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1484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A7AF654-F846-4EFC-A874-1D09711E3B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19" y="2498228"/>
            <a:ext cx="8698995" cy="318391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riangle Charts Explained (3/5) </a:t>
            </a:r>
            <a:endParaRPr lang="en-GB" cap="none" baseline="30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11415B-E557-409B-B32E-35CA23C7436D}"/>
              </a:ext>
            </a:extLst>
          </p:cNvPr>
          <p:cNvSpPr/>
          <p:nvPr/>
        </p:nvSpPr>
        <p:spPr>
          <a:xfrm>
            <a:off x="2153919" y="2687052"/>
            <a:ext cx="3928147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8F18E7-64AA-44C6-A1CB-F9CDB9392675}"/>
              </a:ext>
            </a:extLst>
          </p:cNvPr>
          <p:cNvSpPr/>
          <p:nvPr/>
        </p:nvSpPr>
        <p:spPr>
          <a:xfrm>
            <a:off x="1971675" y="3333967"/>
            <a:ext cx="4110391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C7F41B-AC63-4602-8DC2-2251C82EC134}"/>
              </a:ext>
            </a:extLst>
          </p:cNvPr>
          <p:cNvSpPr/>
          <p:nvPr/>
        </p:nvSpPr>
        <p:spPr>
          <a:xfrm>
            <a:off x="6502399" y="4995237"/>
            <a:ext cx="2040709" cy="3657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Double Brace 14">
            <a:extLst>
              <a:ext uri="{FF2B5EF4-FFF2-40B4-BE49-F238E27FC236}">
                <a16:creationId xmlns:a16="http://schemas.microsoft.com/office/drawing/2014/main" id="{D0E6EAC6-77C7-4CAF-AAF2-2E8D6BA038E9}"/>
              </a:ext>
            </a:extLst>
          </p:cNvPr>
          <p:cNvSpPr/>
          <p:nvPr/>
        </p:nvSpPr>
        <p:spPr>
          <a:xfrm>
            <a:off x="6082066" y="2618716"/>
            <a:ext cx="1687545" cy="1122485"/>
          </a:xfrm>
          <a:prstGeom prst="bracePair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76954B40-42BC-4BBF-9B33-99D1FC7CEB4D}"/>
              </a:ext>
            </a:extLst>
          </p:cNvPr>
          <p:cNvSpPr/>
          <p:nvPr/>
        </p:nvSpPr>
        <p:spPr>
          <a:xfrm>
            <a:off x="6748366" y="2120007"/>
            <a:ext cx="379141" cy="546410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3C23A2-2756-4522-82B0-C019DC7864CD}"/>
              </a:ext>
            </a:extLst>
          </p:cNvPr>
          <p:cNvSpPr txBox="1"/>
          <p:nvPr/>
        </p:nvSpPr>
        <p:spPr>
          <a:xfrm>
            <a:off x="5413163" y="1776085"/>
            <a:ext cx="3350998" cy="5847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Outlined triangles (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Wingdings 3" panose="05040102010807070707" pitchFamily="18" charset="2"/>
              </a:rPr>
              <a:t>)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represent licensees planning to fi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AE982B-7EFE-4298-875F-DD7480F64469}"/>
              </a:ext>
            </a:extLst>
          </p:cNvPr>
          <p:cNvSpPr txBox="1"/>
          <p:nvPr/>
        </p:nvSpPr>
        <p:spPr>
          <a:xfrm>
            <a:off x="2232181" y="6114904"/>
            <a:ext cx="4856481" cy="3385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Each colored triangle corresponds to a different licensee</a:t>
            </a:r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B834BE16-9BBA-4965-9C00-70A7C02F34C0}"/>
              </a:ext>
            </a:extLst>
          </p:cNvPr>
          <p:cNvSpPr/>
          <p:nvPr/>
        </p:nvSpPr>
        <p:spPr>
          <a:xfrm rot="16200000">
            <a:off x="4325245" y="3900872"/>
            <a:ext cx="717030" cy="3637279"/>
          </a:xfrm>
          <a:prstGeom prst="leftBrace">
            <a:avLst>
              <a:gd name="adj1" fmla="val 17811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50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A7AF654-F846-4EFC-A874-1D09711E3B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19" y="2498228"/>
            <a:ext cx="8698995" cy="318391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riangle Charts Explained (4/5) </a:t>
            </a:r>
            <a:endParaRPr lang="en-GB" cap="none" baseline="30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24ED6C-03B4-45AC-ACD2-EFF77B4DDB94}"/>
              </a:ext>
            </a:extLst>
          </p:cNvPr>
          <p:cNvSpPr txBox="1"/>
          <p:nvPr/>
        </p:nvSpPr>
        <p:spPr>
          <a:xfrm>
            <a:off x="373357" y="1006408"/>
            <a:ext cx="86972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Triangle charts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epresent a comparative analysis of each MPP licensee on filings with USFDA and WHO-PQ for each product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CC7F41B-AC63-4602-8DC2-2251C82EC134}"/>
              </a:ext>
            </a:extLst>
          </p:cNvPr>
          <p:cNvSpPr/>
          <p:nvPr/>
        </p:nvSpPr>
        <p:spPr>
          <a:xfrm>
            <a:off x="6473951" y="4995237"/>
            <a:ext cx="2069157" cy="3657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89DD1424-2F50-43D8-8153-D5712357F748}"/>
              </a:ext>
            </a:extLst>
          </p:cNvPr>
          <p:cNvSpPr/>
          <p:nvPr/>
        </p:nvSpPr>
        <p:spPr>
          <a:xfrm rot="5400000">
            <a:off x="3726690" y="719715"/>
            <a:ext cx="470611" cy="3835098"/>
          </a:xfrm>
          <a:prstGeom prst="leftBrace">
            <a:avLst>
              <a:gd name="adj1" fmla="val 17811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B778F4-8B37-4586-BD9F-751C3A8C8C33}"/>
              </a:ext>
            </a:extLst>
          </p:cNvPr>
          <p:cNvSpPr txBox="1"/>
          <p:nvPr/>
        </p:nvSpPr>
        <p:spPr>
          <a:xfrm>
            <a:off x="2564206" y="1769048"/>
            <a:ext cx="2795578" cy="5847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Filled triangles (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  <a:sym typeface="Wingdings 3" panose="05040102010807070707" pitchFamily="18" charset="2"/>
              </a:rPr>
              <a:t>)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represent licensees who have filed</a:t>
            </a:r>
          </a:p>
        </p:txBody>
      </p:sp>
    </p:spTree>
    <p:extLst>
      <p:ext uri="{BB962C8B-B14F-4D97-AF65-F5344CB8AC3E}">
        <p14:creationId xmlns:p14="http://schemas.microsoft.com/office/powerpoint/2010/main" val="42848579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A7AF654-F846-4EFC-A874-1D09711E3B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19" y="2498228"/>
            <a:ext cx="8698995" cy="318391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riangle Charts Explained (5/5) </a:t>
            </a:r>
            <a:endParaRPr lang="en-GB" cap="none" baseline="30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24ED6C-03B4-45AC-ACD2-EFF77B4DDB94}"/>
              </a:ext>
            </a:extLst>
          </p:cNvPr>
          <p:cNvSpPr txBox="1"/>
          <p:nvPr/>
        </p:nvSpPr>
        <p:spPr>
          <a:xfrm>
            <a:off x="373357" y="1006408"/>
            <a:ext cx="86972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Triangle charts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epresent a comparative analysis of each MPP licensee on filings with USFDA and WHO-PQ for each product </a:t>
            </a:r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61BD6068-0221-412B-AFD5-D8FA35BC1E17}"/>
              </a:ext>
            </a:extLst>
          </p:cNvPr>
          <p:cNvSpPr/>
          <p:nvPr/>
        </p:nvSpPr>
        <p:spPr>
          <a:xfrm rot="5400000">
            <a:off x="2526991" y="2250060"/>
            <a:ext cx="458538" cy="475489"/>
          </a:xfrm>
          <a:prstGeom prst="leftBrace">
            <a:avLst>
              <a:gd name="adj1" fmla="val 34423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46151E-88E8-407A-BA5D-71F3D0F9C287}"/>
              </a:ext>
            </a:extLst>
          </p:cNvPr>
          <p:cNvSpPr/>
          <p:nvPr/>
        </p:nvSpPr>
        <p:spPr>
          <a:xfrm>
            <a:off x="1231651" y="1706032"/>
            <a:ext cx="3490333" cy="5847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A circled triangle represents a licensee who has received approval</a:t>
            </a:r>
          </a:p>
        </p:txBody>
      </p:sp>
      <p:sp>
        <p:nvSpPr>
          <p:cNvPr id="4" name="Circle: Hollow 3">
            <a:extLst>
              <a:ext uri="{FF2B5EF4-FFF2-40B4-BE49-F238E27FC236}">
                <a16:creationId xmlns:a16="http://schemas.microsoft.com/office/drawing/2014/main" id="{9B50C0A9-3586-4EF2-9D92-F3520C2826C8}"/>
              </a:ext>
            </a:extLst>
          </p:cNvPr>
          <p:cNvSpPr/>
          <p:nvPr/>
        </p:nvSpPr>
        <p:spPr>
          <a:xfrm>
            <a:off x="2591671" y="2848386"/>
            <a:ext cx="329184" cy="329184"/>
          </a:xfrm>
          <a:prstGeom prst="donut">
            <a:avLst>
              <a:gd name="adj" fmla="val 4822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7962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2710289" y="4358496"/>
            <a:ext cx="3460831" cy="613459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olutegravir</a:t>
            </a:r>
          </a:p>
        </p:txBody>
      </p:sp>
      <p:pic>
        <p:nvPicPr>
          <p:cNvPr id="3" name="Picture 2" descr="Related image">
            <a:extLst>
              <a:ext uri="{FF2B5EF4-FFF2-40B4-BE49-F238E27FC236}">
                <a16:creationId xmlns:a16="http://schemas.microsoft.com/office/drawing/2014/main" id="{0BA6F88E-25B0-4E6B-940F-33B4C54A7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9260" y="1314764"/>
            <a:ext cx="4196264" cy="27975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0278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DTG 50mg</a:t>
            </a:r>
            <a:endParaRPr lang="en-GB" cap="none" baseline="30000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A17E66A-C4B8-4D0B-A4AD-44A79E5EF727}"/>
              </a:ext>
            </a:extLst>
          </p:cNvPr>
          <p:cNvSpPr/>
          <p:nvPr/>
        </p:nvSpPr>
        <p:spPr>
          <a:xfrm>
            <a:off x="286439" y="4165599"/>
            <a:ext cx="8600386" cy="261112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above chart shows 8 MPP licensees are developing DTG 50mg, of which:</a:t>
            </a:r>
          </a:p>
          <a:p>
            <a:pPr marL="690563" lvl="1" indent="-284163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companies have filed with WHO-PQ; of which </a:t>
            </a: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la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s received approval</a:t>
            </a:r>
          </a:p>
          <a:p>
            <a:pPr marL="690563" lvl="1" indent="-284163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 companies have filed with USFDA; of which </a:t>
            </a:r>
            <a:r>
              <a:rPr lang="en-US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robindo</a:t>
            </a: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Cipla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lan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received approvals</a:t>
            </a:r>
          </a:p>
          <a:p>
            <a:pPr marL="233363" indent="-284163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tero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</a:t>
            </a: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cure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received ERP approvals</a:t>
            </a:r>
          </a:p>
          <a:p>
            <a:pPr marL="233363" indent="-284163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total, </a:t>
            </a:r>
            <a:r>
              <a:rPr lang="en-US" b="1" u="sng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companies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ready to supply DTG 50m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E8E1A6-C08C-439C-BE0B-9971728495F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813" y="1065623"/>
            <a:ext cx="8567012" cy="288336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3111514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9668A3-D3FB-4C49-B57D-3784416782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692" y="1031631"/>
            <a:ext cx="8535133" cy="4603751"/>
          </a:xfrm>
        </p:spPr>
        <p:txBody>
          <a:bodyPr/>
          <a:lstStyle/>
          <a:p>
            <a:r>
              <a:rPr lang="en-US" sz="2400" b="1" dirty="0"/>
              <a:t>Over 90% </a:t>
            </a:r>
            <a:r>
              <a:rPr lang="en-US" sz="2400" dirty="0"/>
              <a:t>of the HIV medicines procured in LMICs are made by generic manufacturers*, many of whom are present here today</a:t>
            </a:r>
          </a:p>
          <a:p>
            <a:endParaRPr lang="en-US" sz="1200" dirty="0"/>
          </a:p>
          <a:p>
            <a:r>
              <a:rPr lang="en-US" sz="2400" dirty="0"/>
              <a:t>In Hepatitis C, </a:t>
            </a:r>
            <a:r>
              <a:rPr lang="en-US" sz="2400" b="1" dirty="0"/>
              <a:t>over 110 countries </a:t>
            </a:r>
            <a:r>
              <a:rPr lang="en-US" sz="2400" dirty="0"/>
              <a:t>can benefit from access to generic directly acting antiviral, including some of the new pan-genotypic regimens</a:t>
            </a:r>
          </a:p>
          <a:p>
            <a:endParaRPr lang="en-US" sz="1200" dirty="0"/>
          </a:p>
          <a:p>
            <a:r>
              <a:rPr lang="en-US" sz="2400" dirty="0"/>
              <a:t>Some companies are </a:t>
            </a:r>
            <a:r>
              <a:rPr lang="en-US" sz="2400" b="1" dirty="0"/>
              <a:t>vertically integrated</a:t>
            </a:r>
            <a:r>
              <a:rPr lang="en-US" sz="2400" dirty="0"/>
              <a:t>; some specialize in </a:t>
            </a:r>
            <a:r>
              <a:rPr lang="en-US" sz="2400" b="1" dirty="0"/>
              <a:t>active pharmaceutical ingredients </a:t>
            </a:r>
            <a:r>
              <a:rPr lang="en-US" sz="2400" dirty="0"/>
              <a:t>or </a:t>
            </a:r>
            <a:r>
              <a:rPr lang="en-US" sz="2400" b="1" dirty="0"/>
              <a:t>finished dosage forms </a:t>
            </a:r>
            <a:r>
              <a:rPr lang="en-US" sz="2400" dirty="0"/>
              <a:t>only; others are primarily in </a:t>
            </a:r>
            <a:r>
              <a:rPr lang="en-US" sz="2400" b="1" dirty="0"/>
              <a:t>tertiary production</a:t>
            </a:r>
            <a:r>
              <a:rPr lang="en-US" sz="2400" dirty="0"/>
              <a:t> (packaging, labeling)</a:t>
            </a:r>
          </a:p>
          <a:p>
            <a:endParaRPr lang="en-US" sz="1100" b="1" dirty="0"/>
          </a:p>
          <a:p>
            <a:r>
              <a:rPr lang="en-US" sz="2400" b="1" dirty="0"/>
              <a:t>Public health </a:t>
            </a:r>
            <a:r>
              <a:rPr lang="en-US" sz="2400" b="1" dirty="0" err="1"/>
              <a:t>licences</a:t>
            </a:r>
            <a:r>
              <a:rPr lang="en-US" sz="2400" b="1" dirty="0"/>
              <a:t> </a:t>
            </a:r>
            <a:r>
              <a:rPr lang="en-US" sz="2400" dirty="0"/>
              <a:t>negotiated by the Medicines Patent Pool have been instrumental in facilitating the development of many of the new treatments</a:t>
            </a:r>
            <a:endParaRPr lang="en-US" sz="2400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0BE2C0-60AE-1945-A705-CB0B2ECFB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CONTEXT FOR THIS SESS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2FBED9-58E6-D04D-BCDB-12DBE308A55D}"/>
              </a:ext>
            </a:extLst>
          </p:cNvPr>
          <p:cNvSpPr txBox="1"/>
          <p:nvPr/>
        </p:nvSpPr>
        <p:spPr>
          <a:xfrm>
            <a:off x="540521" y="6457875"/>
            <a:ext cx="83463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 Waning et al Journal of the International AIDS Society 2010, 13:35;  CHAI, ARV Market Report 2015</a:t>
            </a:r>
          </a:p>
        </p:txBody>
      </p:sp>
    </p:spTree>
    <p:extLst>
      <p:ext uri="{BB962C8B-B14F-4D97-AF65-F5344CB8AC3E}">
        <p14:creationId xmlns:p14="http://schemas.microsoft.com/office/powerpoint/2010/main" val="34503497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GB" cap="none" dirty="0"/>
              <a:t>DTG 50mg: Country-wise Filing Status</a:t>
            </a:r>
          </a:p>
        </p:txBody>
      </p:sp>
      <p:sp>
        <p:nvSpPr>
          <p:cNvPr id="5" name="Rounded Rectangle 12">
            <a:extLst>
              <a:ext uri="{FF2B5EF4-FFF2-40B4-BE49-F238E27FC236}">
                <a16:creationId xmlns:a16="http://schemas.microsoft.com/office/drawing/2014/main" id="{E3759C55-701A-4D45-8BE9-5982E0EF928C}"/>
              </a:ext>
            </a:extLst>
          </p:cNvPr>
          <p:cNvSpPr/>
          <p:nvPr/>
        </p:nvSpPr>
        <p:spPr>
          <a:xfrm>
            <a:off x="822967" y="5350476"/>
            <a:ext cx="7873993" cy="118624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ct val="130000"/>
              </a:lnSpc>
              <a:defRPr/>
            </a:pP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ic DTG has been filed in 33 countries, of which approval is received from 9</a:t>
            </a:r>
          </a:p>
          <a:p>
            <a:pPr lvl="0" algn="ctr">
              <a:lnSpc>
                <a:spcPct val="130000"/>
              </a:lnSpc>
              <a:defRPr/>
            </a:pP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other 30 filings are planned for 2018 (covering an additional 11.5% PLHIVs in LMICs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BD87E56-D65F-4CD2-AE6F-6EAF606AB8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5275360"/>
              </p:ext>
            </p:extLst>
          </p:nvPr>
        </p:nvGraphicFramePr>
        <p:xfrm>
          <a:off x="822967" y="1297542"/>
          <a:ext cx="2713447" cy="3675873"/>
        </p:xfrm>
        <a:graphic>
          <a:graphicData uri="http://schemas.openxmlformats.org/drawingml/2006/table">
            <a:tbl>
              <a:tblPr/>
              <a:tblGrid>
                <a:gridCol w="2713447">
                  <a:extLst>
                    <a:ext uri="{9D8B030D-6E8A-4147-A177-3AD203B41FA5}">
                      <a16:colId xmlns:a16="http://schemas.microsoft.com/office/drawing/2014/main" val="107085330"/>
                    </a:ext>
                  </a:extLst>
                </a:gridCol>
              </a:tblGrid>
              <a:tr h="6548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proved (9)</a:t>
                      </a:r>
                    </a:p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2.1% PLHI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952295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swan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799749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ôte d'Ivoire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9866242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938150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ny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1702272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icaragu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462045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yanmar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0663441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anzani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6681881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kraine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8417270"/>
                  </a:ext>
                </a:extLst>
              </a:tr>
              <a:tr h="33567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zbekistan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11565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D404CAC-5FE9-4734-B710-F2FE7BF0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897412"/>
              </p:ext>
            </p:extLst>
          </p:nvPr>
        </p:nvGraphicFramePr>
        <p:xfrm>
          <a:off x="3844438" y="1288584"/>
          <a:ext cx="4820568" cy="3361116"/>
        </p:xfrm>
        <a:graphic>
          <a:graphicData uri="http://schemas.openxmlformats.org/drawingml/2006/table">
            <a:tbl>
              <a:tblPr/>
              <a:tblGrid>
                <a:gridCol w="1606856">
                  <a:extLst>
                    <a:ext uri="{9D8B030D-6E8A-4147-A177-3AD203B41FA5}">
                      <a16:colId xmlns:a16="http://schemas.microsoft.com/office/drawing/2014/main" val="899271697"/>
                    </a:ext>
                  </a:extLst>
                </a:gridCol>
                <a:gridCol w="1606856">
                  <a:extLst>
                    <a:ext uri="{9D8B030D-6E8A-4147-A177-3AD203B41FA5}">
                      <a16:colId xmlns:a16="http://schemas.microsoft.com/office/drawing/2014/main" val="281919884"/>
                    </a:ext>
                  </a:extLst>
                </a:gridCol>
                <a:gridCol w="1606856">
                  <a:extLst>
                    <a:ext uri="{9D8B030D-6E8A-4147-A177-3AD203B41FA5}">
                      <a16:colId xmlns:a16="http://schemas.microsoft.com/office/drawing/2014/main" val="1024490880"/>
                    </a:ext>
                  </a:extLst>
                </a:gridCol>
              </a:tblGrid>
              <a:tr h="676140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iled (24)</a:t>
                      </a:r>
                    </a:p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6.4% PLHIV in LMIC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857870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rundi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yrgyztan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gal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888144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awi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erra Leone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8330073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 Congo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uritius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Afric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918014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 Salvador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zambique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dan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347159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mibi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gand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0901399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bon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nam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9996544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han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bi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0565669"/>
                  </a:ext>
                </a:extLst>
              </a:tr>
              <a:tr h="3356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yan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wanda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imbabwe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88052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95547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A1B019C-0567-4611-B43B-94BDC2364E8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677" y="1350189"/>
            <a:ext cx="8525148" cy="27669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DTG 50mg Dispersible Tablets </a:t>
            </a:r>
            <a:endParaRPr lang="en-GB" cap="none" baseline="30000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A17E66A-C4B8-4D0B-A4AD-44A79E5EF727}"/>
              </a:ext>
            </a:extLst>
          </p:cNvPr>
          <p:cNvSpPr/>
          <p:nvPr/>
        </p:nvSpPr>
        <p:spPr>
          <a:xfrm>
            <a:off x="358926" y="4508568"/>
            <a:ext cx="8525148" cy="17599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ur MPP licensees are developing DTG dispersible formulation, of which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 plan to file with WHO-PQ </a:t>
            </a:r>
            <a:r>
              <a:rPr kumimoji="0" lang="en-US" b="0" i="0" u="non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3-19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ans to file with USFDA in early 2019 and another 3 by second half of 2019</a:t>
            </a:r>
          </a:p>
        </p:txBody>
      </p:sp>
    </p:spTree>
    <p:extLst>
      <p:ext uri="{BB962C8B-B14F-4D97-AF65-F5344CB8AC3E}">
        <p14:creationId xmlns:p14="http://schemas.microsoft.com/office/powerpoint/2010/main" val="12863123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DF/3TC/</a:t>
            </a:r>
            <a:r>
              <a:rPr lang="en-GB" dirty="0"/>
              <a:t>DTG</a:t>
            </a:r>
            <a:br>
              <a:rPr lang="en-GB" dirty="0"/>
            </a:br>
            <a:r>
              <a:rPr lang="en-GB" sz="2000" i="1" dirty="0"/>
              <a:t>(tenofovir disoproxil/lamivudine/dolutegravir)</a:t>
            </a:r>
            <a:endParaRPr lang="en-GB" i="1" cap="none" baseline="300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EA2D1B1-6DA5-48E8-A626-6ABD83FEED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95" y="1007059"/>
            <a:ext cx="8548688" cy="269279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12" name="Rounded Rectangle 10">
            <a:extLst>
              <a:ext uri="{FF2B5EF4-FFF2-40B4-BE49-F238E27FC236}">
                <a16:creationId xmlns:a16="http://schemas.microsoft.com/office/drawing/2014/main" id="{8860839A-01C5-460E-973D-1FCFF6E94628}"/>
              </a:ext>
            </a:extLst>
          </p:cNvPr>
          <p:cNvSpPr/>
          <p:nvPr/>
        </p:nvSpPr>
        <p:spPr>
          <a:xfrm>
            <a:off x="303795" y="3841921"/>
            <a:ext cx="8548688" cy="29075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marR="0" lvl="0" indent="-285750" algn="l" defTabSz="4572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3 MPP licensees are currently developing TDF/3TC/DTG, of which:</a:t>
            </a: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 have filed with WHO-PQ</a:t>
            </a: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ave filed with USFDA; of which </a:t>
            </a: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lan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robindo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ave received approvals</a:t>
            </a:r>
          </a:p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  <a:defRPr/>
            </a:pP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pla, Hetero, </a:t>
            </a:r>
            <a:r>
              <a:rPr lang="en-US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cleods</a:t>
            </a: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nd Sun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received ERP approval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4572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 all, </a:t>
            </a:r>
            <a:r>
              <a:rPr kumimoji="0" lang="en-US" b="1" i="0" u="sng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 generic versions of TLD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e already in the market and an additional 4 are expected to be launched soon</a:t>
            </a:r>
          </a:p>
        </p:txBody>
      </p:sp>
    </p:spTree>
    <p:extLst>
      <p:ext uri="{BB962C8B-B14F-4D97-AF65-F5344CB8AC3E}">
        <p14:creationId xmlns:p14="http://schemas.microsoft.com/office/powerpoint/2010/main" val="1881965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GB" dirty="0"/>
              <a:t>TDF/3TC/DTG: </a:t>
            </a:r>
            <a:r>
              <a:rPr lang="en-GB" cap="none" dirty="0"/>
              <a:t>Country-wise Filing Status</a:t>
            </a:r>
          </a:p>
        </p:txBody>
      </p:sp>
      <p:sp>
        <p:nvSpPr>
          <p:cNvPr id="5" name="Rounded Rectangle 12">
            <a:extLst>
              <a:ext uri="{FF2B5EF4-FFF2-40B4-BE49-F238E27FC236}">
                <a16:creationId xmlns:a16="http://schemas.microsoft.com/office/drawing/2014/main" id="{E3759C55-701A-4D45-8BE9-5982E0EF928C}"/>
              </a:ext>
            </a:extLst>
          </p:cNvPr>
          <p:cNvSpPr/>
          <p:nvPr/>
        </p:nvSpPr>
        <p:spPr>
          <a:xfrm>
            <a:off x="822967" y="5350476"/>
            <a:ext cx="7873993" cy="118624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ct val="130000"/>
              </a:lnSpc>
              <a:defRPr/>
            </a:pP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ic TLD has been filed in 31 countries, of which approval is received from 6</a:t>
            </a:r>
          </a:p>
          <a:p>
            <a:pPr lvl="0" algn="ctr">
              <a:lnSpc>
                <a:spcPct val="130000"/>
              </a:lnSpc>
              <a:defRPr/>
            </a:pP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other 25 filings are planned for 2018 (covering an additional 7.7% PLHIVs in LMICs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E4071D4-2536-4778-853F-61F27B5DCA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527997"/>
              </p:ext>
            </p:extLst>
          </p:nvPr>
        </p:nvGraphicFramePr>
        <p:xfrm>
          <a:off x="659882" y="1230357"/>
          <a:ext cx="2852928" cy="2654607"/>
        </p:xfrm>
        <a:graphic>
          <a:graphicData uri="http://schemas.openxmlformats.org/drawingml/2006/table">
            <a:tbl>
              <a:tblPr/>
              <a:tblGrid>
                <a:gridCol w="2852928">
                  <a:extLst>
                    <a:ext uri="{9D8B030D-6E8A-4147-A177-3AD203B41FA5}">
                      <a16:colId xmlns:a16="http://schemas.microsoft.com/office/drawing/2014/main" val="1539689779"/>
                    </a:ext>
                  </a:extLst>
                </a:gridCol>
              </a:tblGrid>
              <a:tr h="734367">
                <a:tc>
                  <a:txBody>
                    <a:bodyPr/>
                    <a:lstStyle/>
                    <a:p>
                      <a:pPr algn="ctr" fontAlgn="b">
                        <a:lnSpc>
                          <a:spcPct val="130000"/>
                        </a:lnSpc>
                      </a:pP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proved (6)</a:t>
                      </a:r>
                    </a:p>
                    <a:p>
                      <a:pPr algn="ctr" fontAlgn="b">
                        <a:lnSpc>
                          <a:spcPct val="130000"/>
                        </a:lnSpc>
                      </a:pPr>
                      <a:r>
                        <a:rPr lang="en-U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19.4% PLHIV in LMICs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655178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swa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896107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ôte d'Ivoir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920529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081866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ny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67646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aw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02784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zbekista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954766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36214E3-8001-403C-A0C6-308A5A7205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7505030"/>
              </p:ext>
            </p:extLst>
          </p:nvPr>
        </p:nvGraphicFramePr>
        <p:xfrm>
          <a:off x="3864899" y="1230357"/>
          <a:ext cx="4571712" cy="3599485"/>
        </p:xfrm>
        <a:graphic>
          <a:graphicData uri="http://schemas.openxmlformats.org/drawingml/2006/table">
            <a:tbl>
              <a:tblPr/>
              <a:tblGrid>
                <a:gridCol w="1523904">
                  <a:extLst>
                    <a:ext uri="{9D8B030D-6E8A-4147-A177-3AD203B41FA5}">
                      <a16:colId xmlns:a16="http://schemas.microsoft.com/office/drawing/2014/main" val="1212888162"/>
                    </a:ext>
                  </a:extLst>
                </a:gridCol>
                <a:gridCol w="1523904">
                  <a:extLst>
                    <a:ext uri="{9D8B030D-6E8A-4147-A177-3AD203B41FA5}">
                      <a16:colId xmlns:a16="http://schemas.microsoft.com/office/drawing/2014/main" val="3891158301"/>
                    </a:ext>
                  </a:extLst>
                </a:gridCol>
                <a:gridCol w="1523904">
                  <a:extLst>
                    <a:ext uri="{9D8B030D-6E8A-4147-A177-3AD203B41FA5}">
                      <a16:colId xmlns:a16="http://schemas.microsoft.com/office/drawing/2014/main" val="509728221"/>
                    </a:ext>
                  </a:extLst>
                </a:gridCol>
              </a:tblGrid>
              <a:tr h="712502">
                <a:tc gridSpan="3">
                  <a:txBody>
                    <a:bodyPr/>
                    <a:lstStyle/>
                    <a:p>
                      <a:pPr algn="ctr" fontAlgn="b">
                        <a:lnSpc>
                          <a:spcPct val="130000"/>
                        </a:lnSpc>
                      </a:pP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iled (25)</a:t>
                      </a:r>
                    </a:p>
                    <a:p>
                      <a:pPr algn="ctr" fontAlgn="b">
                        <a:lnSpc>
                          <a:spcPct val="130000"/>
                        </a:lnSpc>
                      </a:pPr>
                      <a:r>
                        <a:rPr lang="en-US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(69.2% PLHIV in LMICs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1388220"/>
                  </a:ext>
                </a:extLst>
              </a:tr>
              <a:tr h="326663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eni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ha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outh Afric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56473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urkina Fas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dagasca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anzan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12321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urund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l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gand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64553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ero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zambiqu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defTabSz="4572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krain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39031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g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mib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defTabSz="4572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etna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77691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R Cong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g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mb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09571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 Salvado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ger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imbabw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805371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thiop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wand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85542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ab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109538" indent="0" algn="l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eneg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5276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26112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50C608F-F14E-4089-B33C-534BCD194D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76"/>
          <a:stretch/>
        </p:blipFill>
        <p:spPr>
          <a:xfrm>
            <a:off x="228374" y="1316104"/>
            <a:ext cx="8738546" cy="21901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TAF/FTC/DTG</a:t>
            </a:r>
            <a:br>
              <a:rPr lang="en-GB" cap="none" dirty="0"/>
            </a:br>
            <a:r>
              <a:rPr lang="en-GB" sz="2000" i="1" dirty="0"/>
              <a:t>(Tenofovir alafenamide/emtricitabine/dolutegravir)</a:t>
            </a:r>
            <a:endParaRPr lang="en-GB" cap="none" baseline="30000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A17E66A-C4B8-4D0B-A4AD-44A79E5EF727}"/>
              </a:ext>
            </a:extLst>
          </p:cNvPr>
          <p:cNvSpPr/>
          <p:nvPr/>
        </p:nvSpPr>
        <p:spPr>
          <a:xfrm>
            <a:off x="228374" y="3757952"/>
            <a:ext cx="8738546" cy="29043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marR="0" lvl="0" indent="-285750" algn="l" defTabSz="4572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ue to </a:t>
            </a: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ck of clinical data,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AF is not on the WHO Guidelines as of now. However, generics have already started developing TAF combinations</a:t>
            </a:r>
          </a:p>
          <a:p>
            <a:pPr marL="285750" marR="0" lvl="0" indent="-285750" algn="l" defTabSz="4572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 MPP licensees are developing TAF/FTC/DTG, of which:</a:t>
            </a: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  <a:defRPr/>
            </a:pPr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lan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s filed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ith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FDA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d received approval</a:t>
            </a:r>
          </a:p>
          <a:p>
            <a:pPr marL="742950" lvl="1" indent="-285750">
              <a:lnSpc>
                <a:spcPct val="140000"/>
              </a:lnSpc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additional filings are planned by end of 2018</a:t>
            </a:r>
          </a:p>
          <a:p>
            <a:pPr marL="285750" marR="0" lvl="0" indent="-285750" algn="l" defTabSz="457200" rtl="0" eaLnBrk="1" fontAlgn="base" latinLnBrk="0" hangingPunct="1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e anticipate development by additional licensee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b="0" i="0" u="non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celerate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ce there is an update on WHO’s position about </a:t>
            </a: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 of TAF-containing formulation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72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6D1102F-8AF6-459E-A09C-9D3D55D4B390}"/>
              </a:ext>
            </a:extLst>
          </p:cNvPr>
          <p:cNvSpPr txBox="1">
            <a:spLocks/>
          </p:cNvSpPr>
          <p:nvPr/>
        </p:nvSpPr>
        <p:spPr bwMode="auto">
          <a:xfrm>
            <a:off x="84841" y="3084741"/>
            <a:ext cx="8762215" cy="459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defRPr>
            </a:lvl1pPr>
            <a:lvl2pPr marL="4572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ＭＳ Ｐゴシック" charset="0"/>
                <a:cs typeface="+mn-cs"/>
              </a:defRPr>
            </a:lvl2pPr>
            <a:lvl3pPr marL="9144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ＭＳ Ｐゴシック" charset="0"/>
                <a:cs typeface="+mn-cs"/>
              </a:defRPr>
            </a:lvl3pPr>
            <a:lvl4pPr marL="13716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ＭＳ Ｐゴシック" charset="0"/>
                <a:cs typeface="+mn-cs"/>
              </a:defRPr>
            </a:lvl4pPr>
            <a:lvl5pPr marL="182880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ＭＳ Ｐゴシック" charset="0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>
                <a:solidFill>
                  <a:schemeClr val="tx1"/>
                </a:solidFill>
              </a:rPr>
              <a:t>Paediatric HIV</a:t>
            </a:r>
          </a:p>
        </p:txBody>
      </p:sp>
    </p:spTree>
    <p:extLst>
      <p:ext uri="{BB962C8B-B14F-4D97-AF65-F5344CB8AC3E}">
        <p14:creationId xmlns:p14="http://schemas.microsoft.com/office/powerpoint/2010/main" val="40607083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Paediatric Projects</a:t>
            </a:r>
            <a:r>
              <a:rPr lang="en-GB" cap="none" baseline="30000" dirty="0"/>
              <a:t>1</a:t>
            </a:r>
          </a:p>
        </p:txBody>
      </p:sp>
      <p:sp>
        <p:nvSpPr>
          <p:cNvPr id="8" name="Rectangle 7"/>
          <p:cNvSpPr/>
          <p:nvPr/>
        </p:nvSpPr>
        <p:spPr>
          <a:xfrm>
            <a:off x="317752" y="996495"/>
            <a:ext cx="1617215" cy="1655265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GB" dirty="0">
                <a:latin typeface="Calibri" charset="0"/>
                <a:ea typeface="Calibri" charset="0"/>
                <a:cs typeface="Calibri" charset="0"/>
              </a:rPr>
              <a:t>LPV/r </a:t>
            </a:r>
          </a:p>
          <a:p>
            <a:pPr algn="ctr">
              <a:lnSpc>
                <a:spcPct val="110000"/>
              </a:lnSpc>
            </a:pPr>
            <a:r>
              <a:rPr lang="en-GB" sz="1600" i="1" dirty="0">
                <a:latin typeface="Calibri" charset="0"/>
                <a:ea typeface="Calibri" charset="0"/>
                <a:cs typeface="Calibri" charset="0"/>
              </a:rPr>
              <a:t>(sprinkles in sachet or </a:t>
            </a:r>
            <a:r>
              <a:rPr lang="en-GB" sz="1600" i="1" dirty="0" err="1">
                <a:latin typeface="Calibri" charset="0"/>
                <a:ea typeface="Calibri" charset="0"/>
                <a:cs typeface="Calibri" charset="0"/>
              </a:rPr>
              <a:t>minitabs</a:t>
            </a:r>
            <a:r>
              <a:rPr lang="en-GB" sz="1600" i="1" dirty="0">
                <a:latin typeface="Calibri" charset="0"/>
                <a:ea typeface="Calibri" charset="0"/>
                <a:cs typeface="Calibri" charset="0"/>
              </a:rPr>
              <a:t> in capsule)</a:t>
            </a:r>
            <a:endParaRPr lang="en-GB" i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069918" y="996495"/>
            <a:ext cx="6713641" cy="1655265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r>
              <a:rPr lang="en-US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Three companies working on this product:</a:t>
            </a:r>
          </a:p>
          <a:p>
            <a:pPr marL="800100" lvl="1" indent="-342900">
              <a:lnSpc>
                <a:spcPct val="130000"/>
              </a:lnSpc>
              <a:buFont typeface="+mj-lt"/>
              <a:buAutoNum type="arabicPeriod"/>
            </a:pPr>
            <a:r>
              <a:rPr lang="en-US" sz="1700" b="1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Cipla </a:t>
            </a:r>
            <a:r>
              <a:rPr lang="en-US" sz="1700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has received USFDA approval </a:t>
            </a:r>
          </a:p>
          <a:p>
            <a:pPr marL="800100" lvl="1" indent="-342900">
              <a:lnSpc>
                <a:spcPct val="130000"/>
              </a:lnSpc>
              <a:buFont typeface="+mj-lt"/>
              <a:buAutoNum type="arabicPeriod"/>
            </a:pPr>
            <a:r>
              <a:rPr lang="en-US" sz="1700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Another has filed with WHO-PQ and USFDA in Q1-18</a:t>
            </a:r>
          </a:p>
          <a:p>
            <a:pPr marL="800100" lvl="1" indent="-342900">
              <a:lnSpc>
                <a:spcPct val="130000"/>
              </a:lnSpc>
              <a:buFont typeface="+mj-lt"/>
              <a:buAutoNum type="arabicPeriod"/>
            </a:pPr>
            <a:r>
              <a:rPr lang="en-US" sz="1700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The third plans to file with USFDA and WHO-PQ in Q3-19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17752" y="2789995"/>
            <a:ext cx="1617215" cy="1825192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GB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LPV/r/ABC/3TC</a:t>
            </a:r>
          </a:p>
          <a:p>
            <a:pPr algn="ctr">
              <a:lnSpc>
                <a:spcPct val="110000"/>
              </a:lnSpc>
            </a:pPr>
            <a:r>
              <a:rPr lang="en-GB" sz="1600" i="1" dirty="0">
                <a:latin typeface="Calibri" charset="0"/>
                <a:ea typeface="Calibri" charset="0"/>
                <a:cs typeface="Calibri" charset="0"/>
              </a:rPr>
              <a:t>(sprinkles in sachet or </a:t>
            </a:r>
            <a:r>
              <a:rPr lang="en-GB" sz="1600" i="1" dirty="0" err="1">
                <a:latin typeface="Calibri" charset="0"/>
                <a:ea typeface="Calibri" charset="0"/>
                <a:cs typeface="Calibri" charset="0"/>
              </a:rPr>
              <a:t>minitabs</a:t>
            </a:r>
            <a:r>
              <a:rPr lang="en-GB" sz="1600" i="1" dirty="0">
                <a:latin typeface="Calibri" charset="0"/>
                <a:ea typeface="Calibri" charset="0"/>
                <a:cs typeface="Calibri" charset="0"/>
              </a:rPr>
              <a:t> in capsule)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69918" y="2789995"/>
            <a:ext cx="6713641" cy="1825192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30000"/>
              </a:lnSpc>
              <a:buFont typeface="Arial" charset="0"/>
              <a:buChar char="•"/>
            </a:pPr>
            <a:r>
              <a:rPr lang="en-US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Three companies working on this product:</a:t>
            </a:r>
          </a:p>
          <a:p>
            <a:pPr marL="800100" lvl="1" indent="-342900">
              <a:lnSpc>
                <a:spcPct val="130000"/>
              </a:lnSpc>
              <a:buFont typeface="+mj-lt"/>
              <a:buAutoNum type="arabicPeriod"/>
            </a:pPr>
            <a:r>
              <a:rPr lang="en-US" sz="1700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One plans to file with USFDA and WHO-PQ in Dec-18</a:t>
            </a:r>
          </a:p>
          <a:p>
            <a:pPr marL="800100" lvl="1" indent="-342900">
              <a:lnSpc>
                <a:spcPct val="130000"/>
              </a:lnSpc>
              <a:buFont typeface="+mj-lt"/>
              <a:buAutoNum type="arabicPeriod"/>
            </a:pPr>
            <a:r>
              <a:rPr lang="en-US" sz="1700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Another plans to file with USFDA and WHO-PQ in 2019</a:t>
            </a:r>
          </a:p>
          <a:p>
            <a:pPr marL="800100" lvl="1" indent="-342900">
              <a:lnSpc>
                <a:spcPct val="130000"/>
              </a:lnSpc>
              <a:buFont typeface="+mj-lt"/>
              <a:buAutoNum type="arabicPeriod"/>
            </a:pPr>
            <a:r>
              <a:rPr lang="en-US" sz="1700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Another developing, filing status and plans unknown</a:t>
            </a:r>
            <a:endParaRPr lang="en-GB" sz="1700" dirty="0">
              <a:solidFill>
                <a:schemeClr val="tx2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97ACFF-29D4-4D0C-B98E-359C994836F6}"/>
              </a:ext>
            </a:extLst>
          </p:cNvPr>
          <p:cNvSpPr/>
          <p:nvPr/>
        </p:nvSpPr>
        <p:spPr>
          <a:xfrm>
            <a:off x="317752" y="4760899"/>
            <a:ext cx="1617215" cy="993185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GB" dirty="0">
                <a:latin typeface="Calibri" charset="0"/>
                <a:ea typeface="Calibri" charset="0"/>
                <a:cs typeface="Calibri" charset="0"/>
              </a:rPr>
              <a:t>ABC/3TC/EFV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08912F-DDA1-4871-BB76-F696C4B796A1}"/>
              </a:ext>
            </a:extLst>
          </p:cNvPr>
          <p:cNvSpPr/>
          <p:nvPr/>
        </p:nvSpPr>
        <p:spPr>
          <a:xfrm>
            <a:off x="2079679" y="4780776"/>
            <a:ext cx="6703881" cy="993185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charset="0"/>
              <a:buChar char="•"/>
            </a:pPr>
            <a:r>
              <a:rPr lang="en-GB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Three companies working on the product</a:t>
            </a:r>
          </a:p>
          <a:p>
            <a:pPr marL="742950" lvl="1" indent="-285750">
              <a:lnSpc>
                <a:spcPct val="120000"/>
              </a:lnSpc>
              <a:buFont typeface="Arial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Filing plans in 2019</a:t>
            </a:r>
            <a:endParaRPr lang="en-US" sz="1600" strike="sngStrike" dirty="0">
              <a:solidFill>
                <a:schemeClr val="tx2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531F5C5-96EE-4D01-8938-9691681A24CE}"/>
              </a:ext>
            </a:extLst>
          </p:cNvPr>
          <p:cNvSpPr/>
          <p:nvPr/>
        </p:nvSpPr>
        <p:spPr>
          <a:xfrm>
            <a:off x="326931" y="5909513"/>
            <a:ext cx="1617215" cy="794493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GB" dirty="0">
                <a:latin typeface="Calibri" charset="0"/>
                <a:ea typeface="Calibri" charset="0"/>
                <a:cs typeface="Calibri" charset="0"/>
              </a:rPr>
              <a:t>ABC/3TC/DTG</a:t>
            </a:r>
            <a:endParaRPr lang="en-GB" i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304E10-C342-49F3-B075-BF4C5C6698B1}"/>
              </a:ext>
            </a:extLst>
          </p:cNvPr>
          <p:cNvSpPr/>
          <p:nvPr/>
        </p:nvSpPr>
        <p:spPr>
          <a:xfrm>
            <a:off x="2088858" y="5929390"/>
            <a:ext cx="6703881" cy="794493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20000"/>
              </a:lnSpc>
              <a:buFont typeface="Arial" charset="0"/>
              <a:buChar char="•"/>
            </a:pPr>
            <a:r>
              <a:rPr lang="en-US" dirty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rPr>
              <a:t>Multiple companies interested in development, awaiting WHO recommendation on dosage</a:t>
            </a:r>
            <a:endParaRPr lang="en-US" strike="sngStrike" dirty="0">
              <a:solidFill>
                <a:schemeClr val="tx2"/>
              </a:solidFill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1584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190892" y="3719698"/>
            <a:ext cx="8762215" cy="459169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Daclatasvir</a:t>
            </a:r>
          </a:p>
        </p:txBody>
      </p:sp>
      <p:pic>
        <p:nvPicPr>
          <p:cNvPr id="1026" name="Picture 2" descr="Image result for daclatasvir molecule">
            <a:extLst>
              <a:ext uri="{FF2B5EF4-FFF2-40B4-BE49-F238E27FC236}">
                <a16:creationId xmlns:a16="http://schemas.microsoft.com/office/drawing/2014/main" id="{E144BB3E-9311-4976-B6E4-D53ADCEB5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6268" y="368867"/>
            <a:ext cx="5715000" cy="3810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51857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E169712-C26A-4D9C-9DA7-8EA2D572C32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647" y="1416228"/>
            <a:ext cx="8824390" cy="226786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DAC 30mg and 60mg</a:t>
            </a:r>
            <a:endParaRPr lang="en-GB" cap="none" baseline="30000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A17E66A-C4B8-4D0B-A4AD-44A79E5EF727}"/>
              </a:ext>
            </a:extLst>
          </p:cNvPr>
          <p:cNvSpPr/>
          <p:nvPr/>
        </p:nvSpPr>
        <p:spPr>
          <a:xfrm>
            <a:off x="319610" y="4044194"/>
            <a:ext cx="8404860" cy="244721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ven MPP licensees are currently developing the two products, of which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have filed with WHO-PQ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filings planned in 2019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tero </a:t>
            </a: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s received ERP approval </a:t>
            </a:r>
            <a:endParaRPr lang="en-US" sz="20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31775" lvl="0" indent="-231775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ly approved in 16 countries and filed in another 30 countries</a:t>
            </a:r>
          </a:p>
        </p:txBody>
      </p:sp>
    </p:spTree>
    <p:extLst>
      <p:ext uri="{BB962C8B-B14F-4D97-AF65-F5344CB8AC3E}">
        <p14:creationId xmlns:p14="http://schemas.microsoft.com/office/powerpoint/2010/main" val="46666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DAC 30mg </a:t>
            </a:r>
            <a:r>
              <a:rPr lang="en-GB" dirty="0"/>
              <a:t>&amp; 60mg: Country-wise Filing Status</a:t>
            </a:r>
            <a:endParaRPr lang="en-GB" cap="none" baseline="30000" dirty="0"/>
          </a:p>
        </p:txBody>
      </p:sp>
      <p:sp>
        <p:nvSpPr>
          <p:cNvPr id="5" name="Rounded Rectangle 12">
            <a:extLst>
              <a:ext uri="{FF2B5EF4-FFF2-40B4-BE49-F238E27FC236}">
                <a16:creationId xmlns:a16="http://schemas.microsoft.com/office/drawing/2014/main" id="{05682517-9D1D-43F4-B08A-0648BBB34598}"/>
              </a:ext>
            </a:extLst>
          </p:cNvPr>
          <p:cNvSpPr/>
          <p:nvPr/>
        </p:nvSpPr>
        <p:spPr>
          <a:xfrm>
            <a:off x="622938" y="5173132"/>
            <a:ext cx="7898124" cy="7333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ic DAC has been filed in 46 countries, of which approval is received from 16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4EB4B22-CB3D-4D05-86D4-47EAF027E0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644024"/>
              </p:ext>
            </p:extLst>
          </p:nvPr>
        </p:nvGraphicFramePr>
        <p:xfrm>
          <a:off x="4267200" y="1263597"/>
          <a:ext cx="4619625" cy="3297282"/>
        </p:xfrm>
        <a:graphic>
          <a:graphicData uri="http://schemas.openxmlformats.org/drawingml/2006/table">
            <a:tbl>
              <a:tblPr/>
              <a:tblGrid>
                <a:gridCol w="1921933">
                  <a:extLst>
                    <a:ext uri="{9D8B030D-6E8A-4147-A177-3AD203B41FA5}">
                      <a16:colId xmlns:a16="http://schemas.microsoft.com/office/drawing/2014/main" val="1212888162"/>
                    </a:ext>
                  </a:extLst>
                </a:gridCol>
                <a:gridCol w="1242613">
                  <a:extLst>
                    <a:ext uri="{9D8B030D-6E8A-4147-A177-3AD203B41FA5}">
                      <a16:colId xmlns:a16="http://schemas.microsoft.com/office/drawing/2014/main" val="3891158301"/>
                    </a:ext>
                  </a:extLst>
                </a:gridCol>
                <a:gridCol w="1455079">
                  <a:extLst>
                    <a:ext uri="{9D8B030D-6E8A-4147-A177-3AD203B41FA5}">
                      <a16:colId xmlns:a16="http://schemas.microsoft.com/office/drawing/2014/main" val="509728221"/>
                    </a:ext>
                  </a:extLst>
                </a:gridCol>
              </a:tblGrid>
              <a:tr h="416922">
                <a:tc gridSpan="3">
                  <a:txBody>
                    <a:bodyPr/>
                    <a:lstStyle/>
                    <a:p>
                      <a:pPr lvl="0" algn="ctr" fontAlgn="b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iled (30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138822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erbaija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ha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wand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56473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i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temal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eg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12321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liv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it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i Lank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64553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tswa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ny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da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39031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rkina Fas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o PD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rina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77691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rund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mib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nzan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095712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ero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p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gand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805371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ôte d'Ivoir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na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85542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inican Republi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gua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b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527639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71F4970B-6F7F-4A41-A7CE-73B3DABC9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15631"/>
              </p:ext>
            </p:extLst>
          </p:nvPr>
        </p:nvGraphicFramePr>
        <p:xfrm>
          <a:off x="440267" y="1263597"/>
          <a:ext cx="3496734" cy="2989599"/>
        </p:xfrm>
        <a:graphic>
          <a:graphicData uri="http://schemas.openxmlformats.org/drawingml/2006/table">
            <a:tbl>
              <a:tblPr/>
              <a:tblGrid>
                <a:gridCol w="1748367">
                  <a:extLst>
                    <a:ext uri="{9D8B030D-6E8A-4147-A177-3AD203B41FA5}">
                      <a16:colId xmlns:a16="http://schemas.microsoft.com/office/drawing/2014/main" val="1539689779"/>
                    </a:ext>
                  </a:extLst>
                </a:gridCol>
                <a:gridCol w="1748367">
                  <a:extLst>
                    <a:ext uri="{9D8B030D-6E8A-4147-A177-3AD203B41FA5}">
                      <a16:colId xmlns:a16="http://schemas.microsoft.com/office/drawing/2014/main" val="681788699"/>
                    </a:ext>
                  </a:extLst>
                </a:gridCol>
              </a:tblGrid>
              <a:tr h="42927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proved (16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655178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bod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defTabSz="457200" rtl="0" eaLnBrk="1" fontAlgn="b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dones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896107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aw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469906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g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gol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7114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 Cong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920529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caragu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081866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b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kista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67646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ya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rkmenista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02784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zbekista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39547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81957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en-US" b="1" dirty="0">
                <a:latin typeface="+mj-lt"/>
                <a:cs typeface="Calibri"/>
              </a:rPr>
              <a:t>WHAT IS THE MEDICINES PATENT POOL ?</a:t>
            </a:r>
          </a:p>
        </p:txBody>
      </p:sp>
      <p:sp>
        <p:nvSpPr>
          <p:cNvPr id="12" name="Freeform 11"/>
          <p:cNvSpPr/>
          <p:nvPr/>
        </p:nvSpPr>
        <p:spPr>
          <a:xfrm>
            <a:off x="495904" y="1085817"/>
            <a:ext cx="4723641" cy="1001064"/>
          </a:xfrm>
          <a:custGeom>
            <a:avLst/>
            <a:gdLst>
              <a:gd name="connsiteX0" fmla="*/ 0 w 3190584"/>
              <a:gd name="connsiteY0" fmla="*/ 145407 h 872425"/>
              <a:gd name="connsiteX1" fmla="*/ 145407 w 3190584"/>
              <a:gd name="connsiteY1" fmla="*/ 0 h 872425"/>
              <a:gd name="connsiteX2" fmla="*/ 3045177 w 3190584"/>
              <a:gd name="connsiteY2" fmla="*/ 0 h 872425"/>
              <a:gd name="connsiteX3" fmla="*/ 3190584 w 3190584"/>
              <a:gd name="connsiteY3" fmla="*/ 145407 h 872425"/>
              <a:gd name="connsiteX4" fmla="*/ 3190584 w 3190584"/>
              <a:gd name="connsiteY4" fmla="*/ 727018 h 872425"/>
              <a:gd name="connsiteX5" fmla="*/ 3045177 w 3190584"/>
              <a:gd name="connsiteY5" fmla="*/ 872425 h 872425"/>
              <a:gd name="connsiteX6" fmla="*/ 145407 w 3190584"/>
              <a:gd name="connsiteY6" fmla="*/ 872425 h 872425"/>
              <a:gd name="connsiteX7" fmla="*/ 0 w 3190584"/>
              <a:gd name="connsiteY7" fmla="*/ 727018 h 872425"/>
              <a:gd name="connsiteX8" fmla="*/ 0 w 3190584"/>
              <a:gd name="connsiteY8" fmla="*/ 145407 h 87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90584" h="872425">
                <a:moveTo>
                  <a:pt x="0" y="145407"/>
                </a:moveTo>
                <a:cubicBezTo>
                  <a:pt x="0" y="65101"/>
                  <a:pt x="65101" y="0"/>
                  <a:pt x="145407" y="0"/>
                </a:cubicBezTo>
                <a:lnTo>
                  <a:pt x="3045177" y="0"/>
                </a:lnTo>
                <a:cubicBezTo>
                  <a:pt x="3125483" y="0"/>
                  <a:pt x="3190584" y="65101"/>
                  <a:pt x="3190584" y="145407"/>
                </a:cubicBezTo>
                <a:lnTo>
                  <a:pt x="3190584" y="727018"/>
                </a:lnTo>
                <a:cubicBezTo>
                  <a:pt x="3190584" y="807324"/>
                  <a:pt x="3125483" y="872425"/>
                  <a:pt x="3045177" y="872425"/>
                </a:cubicBezTo>
                <a:lnTo>
                  <a:pt x="145407" y="872425"/>
                </a:lnTo>
                <a:cubicBezTo>
                  <a:pt x="65101" y="872425"/>
                  <a:pt x="0" y="807324"/>
                  <a:pt x="0" y="727018"/>
                </a:cubicBezTo>
                <a:lnTo>
                  <a:pt x="0" y="145407"/>
                </a:lnTo>
                <a:close/>
              </a:path>
            </a:pathLst>
          </a:custGeom>
          <a:solidFill>
            <a:srgbClr val="F2F9FB"/>
          </a:solidFill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8308" tIns="88308" rIns="88308" bIns="88308" numCol="1" spcCol="1270" anchor="ctr" anchorCtr="0">
            <a:noAutofit/>
          </a:bodyPr>
          <a:lstStyle/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Founded in 2010 by</a:t>
            </a:r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495904" y="2144770"/>
            <a:ext cx="4723641" cy="1076476"/>
          </a:xfrm>
          <a:custGeom>
            <a:avLst/>
            <a:gdLst>
              <a:gd name="connsiteX0" fmla="*/ 0 w 3190584"/>
              <a:gd name="connsiteY0" fmla="*/ 145407 h 872425"/>
              <a:gd name="connsiteX1" fmla="*/ 145407 w 3190584"/>
              <a:gd name="connsiteY1" fmla="*/ 0 h 872425"/>
              <a:gd name="connsiteX2" fmla="*/ 3045177 w 3190584"/>
              <a:gd name="connsiteY2" fmla="*/ 0 h 872425"/>
              <a:gd name="connsiteX3" fmla="*/ 3190584 w 3190584"/>
              <a:gd name="connsiteY3" fmla="*/ 145407 h 872425"/>
              <a:gd name="connsiteX4" fmla="*/ 3190584 w 3190584"/>
              <a:gd name="connsiteY4" fmla="*/ 727018 h 872425"/>
              <a:gd name="connsiteX5" fmla="*/ 3045177 w 3190584"/>
              <a:gd name="connsiteY5" fmla="*/ 872425 h 872425"/>
              <a:gd name="connsiteX6" fmla="*/ 145407 w 3190584"/>
              <a:gd name="connsiteY6" fmla="*/ 872425 h 872425"/>
              <a:gd name="connsiteX7" fmla="*/ 0 w 3190584"/>
              <a:gd name="connsiteY7" fmla="*/ 727018 h 872425"/>
              <a:gd name="connsiteX8" fmla="*/ 0 w 3190584"/>
              <a:gd name="connsiteY8" fmla="*/ 145407 h 87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90584" h="872425">
                <a:moveTo>
                  <a:pt x="0" y="145407"/>
                </a:moveTo>
                <a:cubicBezTo>
                  <a:pt x="0" y="65101"/>
                  <a:pt x="65101" y="0"/>
                  <a:pt x="145407" y="0"/>
                </a:cubicBezTo>
                <a:lnTo>
                  <a:pt x="3045177" y="0"/>
                </a:lnTo>
                <a:cubicBezTo>
                  <a:pt x="3125483" y="0"/>
                  <a:pt x="3190584" y="65101"/>
                  <a:pt x="3190584" y="145407"/>
                </a:cubicBezTo>
                <a:lnTo>
                  <a:pt x="3190584" y="727018"/>
                </a:lnTo>
                <a:cubicBezTo>
                  <a:pt x="3190584" y="807324"/>
                  <a:pt x="3125483" y="872425"/>
                  <a:pt x="3045177" y="872425"/>
                </a:cubicBezTo>
                <a:lnTo>
                  <a:pt x="145407" y="872425"/>
                </a:lnTo>
                <a:cubicBezTo>
                  <a:pt x="65101" y="872425"/>
                  <a:pt x="0" y="807324"/>
                  <a:pt x="0" y="727018"/>
                </a:cubicBezTo>
                <a:lnTo>
                  <a:pt x="0" y="145407"/>
                </a:lnTo>
                <a:close/>
              </a:path>
            </a:pathLst>
          </a:custGeom>
          <a:solidFill>
            <a:srgbClr val="F2F9FB"/>
          </a:solidFill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8308" tIns="88308" rIns="88308" bIns="88308" numCol="1" spcCol="1270" anchor="ctr" anchorCtr="0">
            <a:noAutofit/>
          </a:bodyPr>
          <a:lstStyle/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To increase 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access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 to new treatments for HIV through licensing of patented medicines</a:t>
            </a:r>
            <a:endParaRPr lang="en-US" sz="2800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495904" y="3284310"/>
            <a:ext cx="4723641" cy="1008216"/>
          </a:xfrm>
          <a:custGeom>
            <a:avLst/>
            <a:gdLst>
              <a:gd name="connsiteX0" fmla="*/ 0 w 3190584"/>
              <a:gd name="connsiteY0" fmla="*/ 145407 h 872425"/>
              <a:gd name="connsiteX1" fmla="*/ 145407 w 3190584"/>
              <a:gd name="connsiteY1" fmla="*/ 0 h 872425"/>
              <a:gd name="connsiteX2" fmla="*/ 3045177 w 3190584"/>
              <a:gd name="connsiteY2" fmla="*/ 0 h 872425"/>
              <a:gd name="connsiteX3" fmla="*/ 3190584 w 3190584"/>
              <a:gd name="connsiteY3" fmla="*/ 145407 h 872425"/>
              <a:gd name="connsiteX4" fmla="*/ 3190584 w 3190584"/>
              <a:gd name="connsiteY4" fmla="*/ 727018 h 872425"/>
              <a:gd name="connsiteX5" fmla="*/ 3045177 w 3190584"/>
              <a:gd name="connsiteY5" fmla="*/ 872425 h 872425"/>
              <a:gd name="connsiteX6" fmla="*/ 145407 w 3190584"/>
              <a:gd name="connsiteY6" fmla="*/ 872425 h 872425"/>
              <a:gd name="connsiteX7" fmla="*/ 0 w 3190584"/>
              <a:gd name="connsiteY7" fmla="*/ 727018 h 872425"/>
              <a:gd name="connsiteX8" fmla="*/ 0 w 3190584"/>
              <a:gd name="connsiteY8" fmla="*/ 145407 h 87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90584" h="872425">
                <a:moveTo>
                  <a:pt x="0" y="145407"/>
                </a:moveTo>
                <a:cubicBezTo>
                  <a:pt x="0" y="65101"/>
                  <a:pt x="65101" y="0"/>
                  <a:pt x="145407" y="0"/>
                </a:cubicBezTo>
                <a:lnTo>
                  <a:pt x="3045177" y="0"/>
                </a:lnTo>
                <a:cubicBezTo>
                  <a:pt x="3125483" y="0"/>
                  <a:pt x="3190584" y="65101"/>
                  <a:pt x="3190584" y="145407"/>
                </a:cubicBezTo>
                <a:lnTo>
                  <a:pt x="3190584" y="727018"/>
                </a:lnTo>
                <a:cubicBezTo>
                  <a:pt x="3190584" y="807324"/>
                  <a:pt x="3125483" y="872425"/>
                  <a:pt x="3045177" y="872425"/>
                </a:cubicBezTo>
                <a:lnTo>
                  <a:pt x="145407" y="872425"/>
                </a:lnTo>
                <a:cubicBezTo>
                  <a:pt x="65101" y="872425"/>
                  <a:pt x="0" y="807324"/>
                  <a:pt x="0" y="727018"/>
                </a:cubicBezTo>
                <a:lnTo>
                  <a:pt x="0" y="145407"/>
                </a:lnTo>
                <a:close/>
              </a:path>
            </a:pathLst>
          </a:custGeom>
          <a:solidFill>
            <a:srgbClr val="F2F9FB"/>
          </a:solidFill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8308" tIns="88308" rIns="88308" bIns="88308" numCol="1" spcCol="1270" anchor="ctr" anchorCtr="0">
            <a:noAutofit/>
          </a:bodyPr>
          <a:lstStyle/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And facilitate 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innovation 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e.g. new fixed dose combinations and </a:t>
            </a:r>
            <a:r>
              <a:rPr lang="en-US" sz="2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paediatric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 formulations</a:t>
            </a:r>
            <a:endParaRPr lang="en-US" sz="2800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495903" y="4386532"/>
            <a:ext cx="4723641" cy="1050388"/>
          </a:xfrm>
          <a:custGeom>
            <a:avLst/>
            <a:gdLst>
              <a:gd name="connsiteX0" fmla="*/ 0 w 3190584"/>
              <a:gd name="connsiteY0" fmla="*/ 145407 h 872425"/>
              <a:gd name="connsiteX1" fmla="*/ 145407 w 3190584"/>
              <a:gd name="connsiteY1" fmla="*/ 0 h 872425"/>
              <a:gd name="connsiteX2" fmla="*/ 3045177 w 3190584"/>
              <a:gd name="connsiteY2" fmla="*/ 0 h 872425"/>
              <a:gd name="connsiteX3" fmla="*/ 3190584 w 3190584"/>
              <a:gd name="connsiteY3" fmla="*/ 145407 h 872425"/>
              <a:gd name="connsiteX4" fmla="*/ 3190584 w 3190584"/>
              <a:gd name="connsiteY4" fmla="*/ 727018 h 872425"/>
              <a:gd name="connsiteX5" fmla="*/ 3045177 w 3190584"/>
              <a:gd name="connsiteY5" fmla="*/ 872425 h 872425"/>
              <a:gd name="connsiteX6" fmla="*/ 145407 w 3190584"/>
              <a:gd name="connsiteY6" fmla="*/ 872425 h 872425"/>
              <a:gd name="connsiteX7" fmla="*/ 0 w 3190584"/>
              <a:gd name="connsiteY7" fmla="*/ 727018 h 872425"/>
              <a:gd name="connsiteX8" fmla="*/ 0 w 3190584"/>
              <a:gd name="connsiteY8" fmla="*/ 145407 h 87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90584" h="872425">
                <a:moveTo>
                  <a:pt x="0" y="145407"/>
                </a:moveTo>
                <a:cubicBezTo>
                  <a:pt x="0" y="65101"/>
                  <a:pt x="65101" y="0"/>
                  <a:pt x="145407" y="0"/>
                </a:cubicBezTo>
                <a:lnTo>
                  <a:pt x="3045177" y="0"/>
                </a:lnTo>
                <a:cubicBezTo>
                  <a:pt x="3125483" y="0"/>
                  <a:pt x="3190584" y="65101"/>
                  <a:pt x="3190584" y="145407"/>
                </a:cubicBezTo>
                <a:lnTo>
                  <a:pt x="3190584" y="727018"/>
                </a:lnTo>
                <a:cubicBezTo>
                  <a:pt x="3190584" y="807324"/>
                  <a:pt x="3125483" y="872425"/>
                  <a:pt x="3045177" y="872425"/>
                </a:cubicBezTo>
                <a:lnTo>
                  <a:pt x="145407" y="872425"/>
                </a:lnTo>
                <a:cubicBezTo>
                  <a:pt x="65101" y="872425"/>
                  <a:pt x="0" y="807324"/>
                  <a:pt x="0" y="727018"/>
                </a:cubicBezTo>
                <a:lnTo>
                  <a:pt x="0" y="145407"/>
                </a:lnTo>
                <a:close/>
              </a:path>
            </a:pathLst>
          </a:custGeom>
          <a:solidFill>
            <a:srgbClr val="F2F9FB"/>
          </a:solidFill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8308" tIns="88308" rIns="88308" bIns="88308" numCol="1" spcCol="1270" anchor="ctr" anchorCtr="0">
            <a:noAutofit/>
          </a:bodyPr>
          <a:lstStyle/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In 2015, expanded mandate to 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Hepatitis C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 and 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Tuberculosis</a:t>
            </a:r>
            <a:endParaRPr lang="en-GB" sz="2400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1701" y="1765116"/>
            <a:ext cx="3180035" cy="340624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2117" y="1234260"/>
            <a:ext cx="1685235" cy="689414"/>
          </a:xfrm>
          <a:prstGeom prst="rect">
            <a:avLst/>
          </a:prstGeom>
        </p:spPr>
      </p:pic>
      <p:sp>
        <p:nvSpPr>
          <p:cNvPr id="10" name="Freeform 9">
            <a:extLst>
              <a:ext uri="{FF2B5EF4-FFF2-40B4-BE49-F238E27FC236}">
                <a16:creationId xmlns:a16="http://schemas.microsoft.com/office/drawing/2014/main" id="{9DFA0A28-7D17-D041-B6C1-6C4981DB8C4E}"/>
              </a:ext>
            </a:extLst>
          </p:cNvPr>
          <p:cNvSpPr/>
          <p:nvPr/>
        </p:nvSpPr>
        <p:spPr>
          <a:xfrm>
            <a:off x="495903" y="5506121"/>
            <a:ext cx="4723641" cy="1132556"/>
          </a:xfrm>
          <a:custGeom>
            <a:avLst/>
            <a:gdLst>
              <a:gd name="connsiteX0" fmla="*/ 0 w 3190584"/>
              <a:gd name="connsiteY0" fmla="*/ 145407 h 872425"/>
              <a:gd name="connsiteX1" fmla="*/ 145407 w 3190584"/>
              <a:gd name="connsiteY1" fmla="*/ 0 h 872425"/>
              <a:gd name="connsiteX2" fmla="*/ 3045177 w 3190584"/>
              <a:gd name="connsiteY2" fmla="*/ 0 h 872425"/>
              <a:gd name="connsiteX3" fmla="*/ 3190584 w 3190584"/>
              <a:gd name="connsiteY3" fmla="*/ 145407 h 872425"/>
              <a:gd name="connsiteX4" fmla="*/ 3190584 w 3190584"/>
              <a:gd name="connsiteY4" fmla="*/ 727018 h 872425"/>
              <a:gd name="connsiteX5" fmla="*/ 3045177 w 3190584"/>
              <a:gd name="connsiteY5" fmla="*/ 872425 h 872425"/>
              <a:gd name="connsiteX6" fmla="*/ 145407 w 3190584"/>
              <a:gd name="connsiteY6" fmla="*/ 872425 h 872425"/>
              <a:gd name="connsiteX7" fmla="*/ 0 w 3190584"/>
              <a:gd name="connsiteY7" fmla="*/ 727018 h 872425"/>
              <a:gd name="connsiteX8" fmla="*/ 0 w 3190584"/>
              <a:gd name="connsiteY8" fmla="*/ 145407 h 87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90584" h="872425">
                <a:moveTo>
                  <a:pt x="0" y="145407"/>
                </a:moveTo>
                <a:cubicBezTo>
                  <a:pt x="0" y="65101"/>
                  <a:pt x="65101" y="0"/>
                  <a:pt x="145407" y="0"/>
                </a:cubicBezTo>
                <a:lnTo>
                  <a:pt x="3045177" y="0"/>
                </a:lnTo>
                <a:cubicBezTo>
                  <a:pt x="3125483" y="0"/>
                  <a:pt x="3190584" y="65101"/>
                  <a:pt x="3190584" y="145407"/>
                </a:cubicBezTo>
                <a:lnTo>
                  <a:pt x="3190584" y="727018"/>
                </a:lnTo>
                <a:cubicBezTo>
                  <a:pt x="3190584" y="807324"/>
                  <a:pt x="3125483" y="872425"/>
                  <a:pt x="3045177" y="872425"/>
                </a:cubicBezTo>
                <a:lnTo>
                  <a:pt x="145407" y="872425"/>
                </a:lnTo>
                <a:cubicBezTo>
                  <a:pt x="65101" y="872425"/>
                  <a:pt x="0" y="807324"/>
                  <a:pt x="0" y="727018"/>
                </a:cubicBezTo>
                <a:lnTo>
                  <a:pt x="0" y="145407"/>
                </a:lnTo>
                <a:close/>
              </a:path>
            </a:pathLst>
          </a:custGeom>
          <a:solidFill>
            <a:srgbClr val="F2F9FB"/>
          </a:solidFill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8308" tIns="88308" rIns="88308" bIns="88308" numCol="1" spcCol="1270" anchor="ctr" anchorCtr="0">
            <a:noAutofit/>
          </a:bodyPr>
          <a:lstStyle/>
          <a:p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In 2018, decision to expand to 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ＭＳ Ｐゴシック" charset="0"/>
                <a:cs typeface="Calibri" pitchFamily="34" charset="0"/>
              </a:rPr>
              <a:t>other patented essential medicines</a:t>
            </a:r>
            <a:endParaRPr lang="en-GB" sz="2400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ＭＳ Ｐゴシック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7121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D26A9B3-98E0-4121-BE37-77860AE5FE9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345" y="1387489"/>
            <a:ext cx="8412480" cy="223548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cap="none" dirty="0"/>
              <a:t>DAC/SOF</a:t>
            </a:r>
            <a:endParaRPr lang="en-GB" cap="none" baseline="30000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A17E66A-C4B8-4D0B-A4AD-44A79E5EF727}"/>
              </a:ext>
            </a:extLst>
          </p:cNvPr>
          <p:cNvSpPr/>
          <p:nvPr/>
        </p:nvSpPr>
        <p:spPr>
          <a:xfrm>
            <a:off x="320994" y="3974757"/>
            <a:ext cx="8415444" cy="249936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marR="0" lvl="0" indent="-285750" algn="l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rrently 4 MPP licensees are developing DAC/SOF combination, of which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st filing with WHO-PQ is expected in Q3-18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other three companies plan to file in the next yea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ly approved in 3 countries and filed in another 14 countries</a:t>
            </a:r>
          </a:p>
        </p:txBody>
      </p:sp>
    </p:spTree>
    <p:extLst>
      <p:ext uri="{BB962C8B-B14F-4D97-AF65-F5344CB8AC3E}">
        <p14:creationId xmlns:p14="http://schemas.microsoft.com/office/powerpoint/2010/main" val="27418895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52600" y="195655"/>
            <a:ext cx="7134225" cy="572076"/>
          </a:xfr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GB" cap="none" dirty="0"/>
              <a:t>DAC/SOF: Country-wise Filing Status and Pla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47BFB4E-DAEA-4F87-90D6-F0303E30B2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594509"/>
              </p:ext>
            </p:extLst>
          </p:nvPr>
        </p:nvGraphicFramePr>
        <p:xfrm>
          <a:off x="973667" y="1202159"/>
          <a:ext cx="2409613" cy="1715661"/>
        </p:xfrm>
        <a:graphic>
          <a:graphicData uri="http://schemas.openxmlformats.org/drawingml/2006/table">
            <a:tbl>
              <a:tblPr/>
              <a:tblGrid>
                <a:gridCol w="2409613">
                  <a:extLst>
                    <a:ext uri="{9D8B030D-6E8A-4147-A177-3AD203B41FA5}">
                      <a16:colId xmlns:a16="http://schemas.microsoft.com/office/drawing/2014/main" val="1539689779"/>
                    </a:ext>
                  </a:extLst>
                </a:gridCol>
              </a:tblGrid>
              <a:tr h="5154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proved (3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655178"/>
                  </a:ext>
                </a:extLst>
              </a:tr>
              <a:tr h="400077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896107"/>
                  </a:ext>
                </a:extLst>
              </a:tr>
              <a:tr h="400077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y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4699065"/>
                  </a:ext>
                </a:extLst>
              </a:tr>
              <a:tr h="400077">
                <a:tc>
                  <a:txBody>
                    <a:bodyPr/>
                    <a:lstStyle/>
                    <a:p>
                      <a:pPr marL="91440" lvl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gand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971140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A23DB89-8C42-4B83-8398-598B023823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4007263"/>
              </p:ext>
            </p:extLst>
          </p:nvPr>
        </p:nvGraphicFramePr>
        <p:xfrm>
          <a:off x="4106334" y="1191630"/>
          <a:ext cx="3886200" cy="3204773"/>
        </p:xfrm>
        <a:graphic>
          <a:graphicData uri="http://schemas.openxmlformats.org/drawingml/2006/table">
            <a:tbl>
              <a:tblPr/>
              <a:tblGrid>
                <a:gridCol w="1945387">
                  <a:extLst>
                    <a:ext uri="{9D8B030D-6E8A-4147-A177-3AD203B41FA5}">
                      <a16:colId xmlns:a16="http://schemas.microsoft.com/office/drawing/2014/main" val="1689315536"/>
                    </a:ext>
                  </a:extLst>
                </a:gridCol>
                <a:gridCol w="1940813">
                  <a:extLst>
                    <a:ext uri="{9D8B030D-6E8A-4147-A177-3AD203B41FA5}">
                      <a16:colId xmlns:a16="http://schemas.microsoft.com/office/drawing/2014/main" val="1662685362"/>
                    </a:ext>
                  </a:extLst>
                </a:gridCol>
              </a:tblGrid>
              <a:tr h="563029">
                <a:tc gridSpan="2">
                  <a:txBody>
                    <a:bodyPr/>
                    <a:lstStyle/>
                    <a:p>
                      <a:pPr lvl="0" algn="ctr" fontAlgn="b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iled (14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209756"/>
                  </a:ext>
                </a:extLst>
              </a:tr>
              <a:tr h="37739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inican Republi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gua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963399"/>
                  </a:ext>
                </a:extLst>
              </a:tr>
              <a:tr h="37739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ha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rinam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440519"/>
                  </a:ext>
                </a:extLst>
              </a:tr>
              <a:tr h="37739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iop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tnam</a:t>
                      </a:r>
                      <a:endParaRPr lang="en-US" sz="1600" dirty="0"/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156388"/>
                  </a:ext>
                </a:extLst>
              </a:tr>
              <a:tr h="37739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eny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mb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373589"/>
                  </a:ext>
                </a:extLst>
              </a:tr>
              <a:tr h="377392">
                <a:tc>
                  <a:txBody>
                    <a:bodyPr/>
                    <a:lstStyle/>
                    <a:p>
                      <a:pPr marL="9144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mib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anma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241842"/>
                  </a:ext>
                </a:extLst>
              </a:tr>
              <a:tr h="37739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ya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caragu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743794"/>
                  </a:ext>
                </a:extLst>
              </a:tr>
              <a:tr h="377392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ger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imbabw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7426842"/>
                  </a:ext>
                </a:extLst>
              </a:tr>
            </a:tbl>
          </a:graphicData>
        </a:graphic>
      </p:graphicFrame>
      <p:sp>
        <p:nvSpPr>
          <p:cNvPr id="11" name="Rounded Rectangle 12">
            <a:extLst>
              <a:ext uri="{FF2B5EF4-FFF2-40B4-BE49-F238E27FC236}">
                <a16:creationId xmlns:a16="http://schemas.microsoft.com/office/drawing/2014/main" id="{C99E8DD9-3F95-457A-9D80-14F42845123C}"/>
              </a:ext>
            </a:extLst>
          </p:cNvPr>
          <p:cNvSpPr/>
          <p:nvPr/>
        </p:nvSpPr>
        <p:spPr>
          <a:xfrm>
            <a:off x="622938" y="5173132"/>
            <a:ext cx="7898124" cy="7333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en-GB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C/SOF has been filed in 17 countries, of which approval is received from 3</a:t>
            </a:r>
          </a:p>
        </p:txBody>
      </p:sp>
    </p:spTree>
    <p:extLst>
      <p:ext uri="{BB962C8B-B14F-4D97-AF65-F5344CB8AC3E}">
        <p14:creationId xmlns:p14="http://schemas.microsoft.com/office/powerpoint/2010/main" val="15438828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FDB8AD-0588-BF4E-9ECA-460EEC4E73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PP Impact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7B8BE3B-75C4-2E48-BF04-098C74B32F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6190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ounded Rectangle 108"/>
          <p:cNvSpPr/>
          <p:nvPr/>
        </p:nvSpPr>
        <p:spPr>
          <a:xfrm>
            <a:off x="651371" y="1191988"/>
            <a:ext cx="3276000" cy="74361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MPP licensees distributing generics</a:t>
            </a:r>
          </a:p>
        </p:txBody>
      </p:sp>
      <p:sp>
        <p:nvSpPr>
          <p:cNvPr id="110" name="Rounded Rectangle 109"/>
          <p:cNvSpPr/>
          <p:nvPr/>
        </p:nvSpPr>
        <p:spPr>
          <a:xfrm>
            <a:off x="459700" y="987194"/>
            <a:ext cx="1433858" cy="294342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128 Countries </a:t>
            </a:r>
          </a:p>
        </p:txBody>
      </p:sp>
      <p:sp>
        <p:nvSpPr>
          <p:cNvPr id="113" name="Rounded Rectangle 112"/>
          <p:cNvSpPr/>
          <p:nvPr/>
        </p:nvSpPr>
        <p:spPr>
          <a:xfrm>
            <a:off x="4714725" y="1249344"/>
            <a:ext cx="3960000" cy="68626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Benefitted from generic competition through MPP agreements</a:t>
            </a:r>
          </a:p>
        </p:txBody>
      </p:sp>
      <p:sp>
        <p:nvSpPr>
          <p:cNvPr id="114" name="Rounded Rectangle 113"/>
          <p:cNvSpPr/>
          <p:nvPr/>
        </p:nvSpPr>
        <p:spPr>
          <a:xfrm>
            <a:off x="4523054" y="998577"/>
            <a:ext cx="2936525" cy="360989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146 New instances of countries</a:t>
            </a:r>
          </a:p>
        </p:txBody>
      </p:sp>
      <p:sp>
        <p:nvSpPr>
          <p:cNvPr id="115" name="Rounded Rectangle 114"/>
          <p:cNvSpPr/>
          <p:nvPr/>
        </p:nvSpPr>
        <p:spPr>
          <a:xfrm>
            <a:off x="629651" y="2228590"/>
            <a:ext cx="3276000" cy="680792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Savings</a:t>
            </a:r>
            <a:endParaRPr lang="en-GB" sz="1600" dirty="0">
              <a:solidFill>
                <a:srgbClr val="FF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6" name="Rounded Rectangle 115"/>
          <p:cNvSpPr/>
          <p:nvPr/>
        </p:nvSpPr>
        <p:spPr>
          <a:xfrm>
            <a:off x="437980" y="2047535"/>
            <a:ext cx="1330970" cy="306218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$553mn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4693005" y="2285946"/>
            <a:ext cx="3981720" cy="62343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In formulation prices after MPP agreements </a:t>
            </a:r>
          </a:p>
        </p:txBody>
      </p:sp>
      <p:sp>
        <p:nvSpPr>
          <p:cNvPr id="118" name="Rounded Rectangle 117"/>
          <p:cNvSpPr/>
          <p:nvPr/>
        </p:nvSpPr>
        <p:spPr>
          <a:xfrm>
            <a:off x="4501333" y="2071275"/>
            <a:ext cx="1829771" cy="306218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2000"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89% average drop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4714725" y="3212222"/>
            <a:ext cx="3981720" cy="62343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rtlCol="0" anchor="ctr"/>
          <a:lstStyle/>
          <a:p>
            <a:r>
              <a:rPr lang="en-GB" sz="1600" dirty="0">
                <a:solidFill>
                  <a:prstClr val="black"/>
                </a:solidFill>
                <a:latin typeface="Calibri" charset="0"/>
                <a:ea typeface="Calibri" charset="0"/>
                <a:cs typeface="Calibri" charset="0"/>
              </a:rPr>
              <a:t>Review and independent assurance of impact by KPMG*</a:t>
            </a: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084996">
            <a:off x="7828203" y="3489190"/>
            <a:ext cx="1055991" cy="270741"/>
          </a:xfrm>
          <a:prstGeom prst="rect">
            <a:avLst/>
          </a:prstGeom>
        </p:spPr>
      </p:pic>
      <p:sp>
        <p:nvSpPr>
          <p:cNvPr id="71" name="Rounded Rectangle 70"/>
          <p:cNvSpPr/>
          <p:nvPr/>
        </p:nvSpPr>
        <p:spPr>
          <a:xfrm>
            <a:off x="650636" y="3273955"/>
            <a:ext cx="3276000" cy="51984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8000"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Serviced by MPP licensees</a:t>
            </a:r>
            <a:endParaRPr lang="en-GB" sz="1600" dirty="0">
              <a:solidFill>
                <a:srgbClr val="FF000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08" name="Rounded Rectangle 107"/>
          <p:cNvSpPr/>
          <p:nvPr/>
        </p:nvSpPr>
        <p:spPr>
          <a:xfrm>
            <a:off x="449268" y="3063763"/>
            <a:ext cx="2026265" cy="351603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latin typeface="Calibri" charset="0"/>
                <a:ea typeface="Calibri" charset="0"/>
                <a:cs typeface="Calibri" charset="0"/>
              </a:rPr>
              <a:t>17mn Patient-years   </a:t>
            </a:r>
          </a:p>
        </p:txBody>
      </p:sp>
      <p:sp>
        <p:nvSpPr>
          <p:cNvPr id="87" name="Title 2"/>
          <p:cNvSpPr>
            <a:spLocks noGrp="1"/>
          </p:cNvSpPr>
          <p:nvPr>
            <p:ph type="title"/>
          </p:nvPr>
        </p:nvSpPr>
        <p:spPr>
          <a:xfrm>
            <a:off x="1962150" y="195655"/>
            <a:ext cx="6924675" cy="572076"/>
          </a:xfrm>
        </p:spPr>
        <p:txBody>
          <a:bodyPr/>
          <a:lstStyle/>
          <a:p>
            <a:r>
              <a:rPr lang="en-GB" cap="none" dirty="0"/>
              <a:t>Impact of MPP Agreements Till </a:t>
            </a:r>
            <a:r>
              <a:rPr lang="en-GB" dirty="0"/>
              <a:t>Dec</a:t>
            </a:r>
            <a:r>
              <a:rPr lang="en-GB" cap="none" dirty="0"/>
              <a:t>-2017</a:t>
            </a:r>
            <a:br>
              <a:rPr lang="en-GB" cap="none" dirty="0"/>
            </a:br>
            <a:r>
              <a:rPr lang="en-GB" sz="1800" i="1" cap="none" dirty="0"/>
              <a:t>(HIV, HCV products)</a:t>
            </a:r>
            <a:endParaRPr lang="en-GB" i="1" cap="non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4F8600E-BF22-4326-97C3-4BDAC0E90FAB}"/>
              </a:ext>
            </a:extLst>
          </p:cNvPr>
          <p:cNvSpPr/>
          <p:nvPr/>
        </p:nvSpPr>
        <p:spPr>
          <a:xfrm>
            <a:off x="312233" y="6583554"/>
            <a:ext cx="83624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i="1" dirty="0">
                <a:latin typeface="Calibri" panose="020F0502020204030204" pitchFamily="34" charset="0"/>
                <a:cs typeface="Calibri" panose="020F0502020204030204" pitchFamily="34" charset="0"/>
              </a:rPr>
              <a:t>* Available at: </a:t>
            </a:r>
            <a:r>
              <a:rPr lang="en-US" sz="1200" i="1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medicinespatentpool.org/uploads/2018/06/Final-MPP-Statemen.pdf</a:t>
            </a:r>
            <a:endParaRPr lang="en-US" sz="12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CFB1177A-77FC-4F0F-9210-5E678813DF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4698635"/>
              </p:ext>
            </p:extLst>
          </p:nvPr>
        </p:nvGraphicFramePr>
        <p:xfrm>
          <a:off x="437979" y="3982273"/>
          <a:ext cx="8258465" cy="2601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521186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tle 2"/>
          <p:cNvSpPr>
            <a:spLocks noGrp="1"/>
          </p:cNvSpPr>
          <p:nvPr>
            <p:ph type="title"/>
          </p:nvPr>
        </p:nvSpPr>
        <p:spPr>
          <a:xfrm>
            <a:off x="1962150" y="195655"/>
            <a:ext cx="6924675" cy="572076"/>
          </a:xfrm>
        </p:spPr>
        <p:txBody>
          <a:bodyPr/>
          <a:lstStyle/>
          <a:p>
            <a:r>
              <a:rPr lang="en-GB" cap="none" dirty="0"/>
              <a:t>Projected Impact of MPP HIV Agreements Till 2028</a:t>
            </a:r>
            <a:br>
              <a:rPr lang="en-GB" cap="none" dirty="0"/>
            </a:br>
            <a:r>
              <a:rPr lang="en-GB" sz="1800" i="1" cap="none" dirty="0"/>
              <a:t>(HIV products only)</a:t>
            </a:r>
            <a:endParaRPr lang="en-GB" i="1" cap="none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E147036-4619-4ADF-B826-C940AB9FDE9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51770" y="972474"/>
            <a:ext cx="81043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The economic model projects the MPP will generate $6.8 billion in direct savings by 202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BAD31CA-D454-48E8-A73B-3425F070E54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01650" y="4730130"/>
            <a:ext cx="215666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</a:rPr>
              <a:t>$6.8 billion</a:t>
            </a:r>
          </a:p>
          <a:p>
            <a:pPr algn="ctr"/>
            <a:r>
              <a:rPr lang="en-US" sz="1200" dirty="0"/>
              <a:t>Total Direct Savings for Net Impacted PLHIVs in Expanded Territori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1F8D730-5331-4875-B0A3-C19ACA9FD1A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78575" y="4976193"/>
            <a:ext cx="2049893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</a:rPr>
              <a:t>1:130</a:t>
            </a:r>
          </a:p>
          <a:p>
            <a:pPr algn="ctr"/>
            <a:r>
              <a:rPr lang="en-US" sz="1200" dirty="0"/>
              <a:t>Cost-Benefit Ratio of MPP Operating Budget to Direct Saving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2F79D79-85A4-4D70-B102-0F3E230533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440112" y="4730130"/>
            <a:ext cx="230276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2"/>
                </a:solidFill>
              </a:rPr>
              <a:t>$433 million*</a:t>
            </a:r>
          </a:p>
          <a:p>
            <a:pPr algn="ctr"/>
            <a:r>
              <a:rPr lang="en-US" sz="1200" dirty="0"/>
              <a:t>Total Direct Savings for Net Impacted PLHIVs in Expanded Territories till Dec-2017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D7F642B-9CF9-4E8F-A2AE-D06C6E1A35B1}"/>
              </a:ext>
            </a:extLst>
          </p:cNvPr>
          <p:cNvSpPr txBox="1"/>
          <p:nvPr/>
        </p:nvSpPr>
        <p:spPr>
          <a:xfrm>
            <a:off x="3146961" y="6347299"/>
            <a:ext cx="29081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* Calculation of actual impact (from data received by sub-licensee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A45842-E8E4-47AF-B5B0-B1EBDED9B9D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474" y="1435811"/>
            <a:ext cx="8711635" cy="3210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8077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60960" y="2048476"/>
            <a:ext cx="8043701" cy="1662431"/>
          </a:xfrm>
        </p:spPr>
        <p:txBody>
          <a:bodyPr/>
          <a:lstStyle/>
          <a:p>
            <a:pPr marL="0" indent="0" algn="ctr">
              <a:buNone/>
            </a:pPr>
            <a:endParaRPr lang="en-US" dirty="0">
              <a:latin typeface="+mn-lt"/>
            </a:endParaRPr>
          </a:p>
          <a:p>
            <a:pPr marL="0" indent="0" algn="ctr">
              <a:buNone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The MPP’s HIV, TB and hepatitis C activities are fully funded by: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0058" y="3089220"/>
            <a:ext cx="4485504" cy="182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0555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1" y="0"/>
            <a:ext cx="9142319" cy="6858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530618" y="3900520"/>
            <a:ext cx="411396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Thank you</a:t>
            </a:r>
            <a:endParaRPr lang="en-US" sz="2000" dirty="0">
              <a:solidFill>
                <a:schemeClr val="bg1"/>
              </a:solidFill>
            </a:endParaRPr>
          </a:p>
          <a:p>
            <a:pPr algn="ctr"/>
            <a:endParaRPr lang="en-US" sz="2000" dirty="0">
              <a:solidFill>
                <a:schemeClr val="bg1"/>
              </a:solidFill>
            </a:endParaRPr>
          </a:p>
          <a:p>
            <a:pPr algn="ctr"/>
            <a:r>
              <a:rPr lang="en-US" sz="2000" dirty="0" err="1">
                <a:solidFill>
                  <a:schemeClr val="bg1"/>
                </a:solidFill>
              </a:rPr>
              <a:t>www.medicinespatentpool.org</a:t>
            </a:r>
            <a:endParaRPr lang="en-US" sz="2000" dirty="0">
              <a:solidFill>
                <a:schemeClr val="bg1"/>
              </a:solidFill>
            </a:endParaRPr>
          </a:p>
          <a:p>
            <a:pPr algn="ctr"/>
            <a:endParaRPr lang="en-US" sz="2000" dirty="0">
              <a:solidFill>
                <a:schemeClr val="bg1"/>
              </a:solidFill>
            </a:endParaRPr>
          </a:p>
          <a:p>
            <a:pPr algn="ctr"/>
            <a:r>
              <a:rPr lang="en-US" sz="2000" dirty="0" err="1">
                <a:solidFill>
                  <a:schemeClr val="bg1"/>
                </a:solidFill>
              </a:rPr>
              <a:t>www.medspal.org</a:t>
            </a:r>
            <a:endParaRPr lang="en-US" sz="2000" dirty="0">
              <a:solidFill>
                <a:schemeClr val="bg1"/>
              </a:solidFill>
            </a:endParaRPr>
          </a:p>
          <a:p>
            <a:pPr algn="ctr"/>
            <a:endParaRPr lang="en-US" sz="2000" dirty="0">
              <a:solidFill>
                <a:schemeClr val="bg1"/>
              </a:solidFill>
            </a:endParaRP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@</a:t>
            </a:r>
            <a:r>
              <a:rPr lang="en-US" sz="2000" dirty="0" err="1">
                <a:solidFill>
                  <a:schemeClr val="bg1"/>
                </a:solidFill>
              </a:rPr>
              <a:t>MedsPatentPool</a:t>
            </a:r>
            <a:endParaRPr lang="en-US" sz="2000" dirty="0">
              <a:solidFill>
                <a:schemeClr val="bg1"/>
              </a:solidFill>
            </a:endParaRPr>
          </a:p>
          <a:p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700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33" b="1" dirty="0">
                <a:latin typeface="+mj-lt"/>
              </a:rPr>
              <a:t>KEY FEATURES OF MPP LICENCES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291283213"/>
              </p:ext>
            </p:extLst>
          </p:nvPr>
        </p:nvGraphicFramePr>
        <p:xfrm>
          <a:off x="3001841" y="1216855"/>
          <a:ext cx="5884985" cy="5134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23868"/>
            <a:ext cx="3384000" cy="3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64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14152" y="162183"/>
            <a:ext cx="7362825" cy="572076"/>
          </a:xfrm>
        </p:spPr>
        <p:txBody>
          <a:bodyPr/>
          <a:lstStyle/>
          <a:p>
            <a:r>
              <a:rPr lang="en-US" b="1" dirty="0"/>
              <a:t>HOW TO FIND OUT WHICH COUNTRIES ARE IN LICENCES OR HAVE PATENTS ON AN ESSENTIAL MEDICIN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70" y="3503203"/>
            <a:ext cx="695028" cy="75767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1529" y="2311581"/>
            <a:ext cx="85423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chemeClr val="tx2"/>
                </a:solidFill>
              </a:rPr>
              <a:t>Most comprehensive source of information on the patent and licensing status of essential medicines in low and middle income countri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59551" y="3367858"/>
            <a:ext cx="22194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atent status data from over 110 low and middle income count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192" y="4615876"/>
            <a:ext cx="522960" cy="59150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059551" y="4615876"/>
            <a:ext cx="22194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overing approx. 70 medicines (over 130 formulations)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256" y="4615874"/>
            <a:ext cx="682560" cy="68256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760180" y="4566357"/>
            <a:ext cx="22194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Information on relevant </a:t>
            </a:r>
            <a:r>
              <a:rPr lang="en-US" sz="1600" dirty="0" err="1"/>
              <a:t>licences</a:t>
            </a:r>
            <a:endParaRPr lang="en-US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9882" y="3517051"/>
            <a:ext cx="710935" cy="62012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760180" y="3360589"/>
            <a:ext cx="22194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Data exclusivity information from 15 countries</a:t>
            </a:r>
          </a:p>
        </p:txBody>
      </p:sp>
      <p:pic>
        <p:nvPicPr>
          <p:cNvPr id="13" name="Picture 12" descr="MedsPal_Logo_Blue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819" y="1326470"/>
            <a:ext cx="2936215" cy="74139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52203" y="5948085"/>
            <a:ext cx="66621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i="1" dirty="0" err="1">
                <a:solidFill>
                  <a:schemeClr val="tx2"/>
                </a:solidFill>
              </a:rPr>
              <a:t>www.medspal.org</a:t>
            </a:r>
            <a:endParaRPr lang="en-US" sz="3200" b="1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49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20969" y="1181566"/>
            <a:ext cx="12363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1200" dirty="0">
                <a:solidFill>
                  <a:srgbClr val="75C1C0"/>
                </a:solidFill>
                <a:latin typeface="Verdana"/>
                <a:cs typeface="Verdana"/>
              </a:rPr>
              <a:t>PATENT HOLDER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95048" y="2709152"/>
            <a:ext cx="9412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kern="1200" dirty="0">
                <a:solidFill>
                  <a:srgbClr val="75C1C0"/>
                </a:solidFill>
                <a:latin typeface="Verdana"/>
                <a:cs typeface="Verdana"/>
              </a:rPr>
              <a:t>Licences</a:t>
            </a:r>
          </a:p>
        </p:txBody>
      </p:sp>
      <p:pic>
        <p:nvPicPr>
          <p:cNvPr id="5" name="Picture 4" descr="nt seals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632" y="1830881"/>
            <a:ext cx="619185" cy="2404872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1836826" y="1830881"/>
            <a:ext cx="0" cy="2404872"/>
          </a:xfrm>
          <a:prstGeom prst="line">
            <a:avLst/>
          </a:prstGeom>
          <a:ln>
            <a:solidFill>
              <a:srgbClr val="75C1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H="1">
            <a:off x="1585489" y="1830881"/>
            <a:ext cx="251337" cy="0"/>
          </a:xfrm>
          <a:prstGeom prst="line">
            <a:avLst/>
          </a:prstGeom>
          <a:ln>
            <a:solidFill>
              <a:srgbClr val="75C1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1585489" y="4221442"/>
            <a:ext cx="251337" cy="0"/>
          </a:xfrm>
          <a:prstGeom prst="line">
            <a:avLst/>
          </a:prstGeom>
          <a:ln>
            <a:solidFill>
              <a:srgbClr val="75C1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1836826" y="3065188"/>
            <a:ext cx="792029" cy="0"/>
          </a:xfrm>
          <a:prstGeom prst="straightConnector1">
            <a:avLst/>
          </a:prstGeom>
          <a:ln>
            <a:solidFill>
              <a:srgbClr val="75C1C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MPPF-LOGO hopeully rgb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604" y="2497838"/>
            <a:ext cx="2114012" cy="11347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935" y="3744967"/>
            <a:ext cx="774700" cy="571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935" y="2766245"/>
            <a:ext cx="774700" cy="571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935" y="1830881"/>
            <a:ext cx="774700" cy="571500"/>
          </a:xfrm>
          <a:prstGeom prst="rect">
            <a:avLst/>
          </a:prstGeom>
        </p:spPr>
      </p:pic>
      <p:pic>
        <p:nvPicPr>
          <p:cNvPr id="14" name="Picture 13" descr="pills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5693" y="1830881"/>
            <a:ext cx="480974" cy="240487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975533" y="2524486"/>
            <a:ext cx="941283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 kern="1200" dirty="0">
                <a:solidFill>
                  <a:srgbClr val="34ADD9"/>
                </a:solidFill>
                <a:latin typeface="Verdana"/>
                <a:cs typeface="Verdana"/>
              </a:rPr>
              <a:t>Sub-</a:t>
            </a:r>
          </a:p>
          <a:p>
            <a:r>
              <a:rPr lang="en-US" sz="1400" kern="1200" dirty="0">
                <a:solidFill>
                  <a:srgbClr val="34ADD9"/>
                </a:solidFill>
                <a:latin typeface="Verdana"/>
                <a:cs typeface="Verdana"/>
              </a:rPr>
              <a:t>Licences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6678069" y="3056588"/>
            <a:ext cx="862508" cy="0"/>
          </a:xfrm>
          <a:prstGeom prst="straightConnector1">
            <a:avLst/>
          </a:prstGeom>
          <a:ln>
            <a:solidFill>
              <a:srgbClr val="00009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678069" y="2709152"/>
            <a:ext cx="935773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kern="1200" dirty="0">
                <a:solidFill>
                  <a:srgbClr val="000090"/>
                </a:solidFill>
                <a:latin typeface="Verdana"/>
                <a:cs typeface="Verdana"/>
              </a:rPr>
              <a:t>Medicines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6678069" y="2137224"/>
            <a:ext cx="862508" cy="0"/>
          </a:xfrm>
          <a:prstGeom prst="straightConnector1">
            <a:avLst/>
          </a:prstGeom>
          <a:ln>
            <a:solidFill>
              <a:srgbClr val="00009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6678069" y="4016176"/>
            <a:ext cx="862508" cy="0"/>
          </a:xfrm>
          <a:prstGeom prst="straightConnector1">
            <a:avLst/>
          </a:prstGeom>
          <a:ln>
            <a:solidFill>
              <a:srgbClr val="00009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997407" y="1822735"/>
            <a:ext cx="0" cy="2404872"/>
          </a:xfrm>
          <a:prstGeom prst="line">
            <a:avLst/>
          </a:prstGeom>
          <a:ln>
            <a:solidFill>
              <a:srgbClr val="34ADD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4746070" y="1822735"/>
            <a:ext cx="251337" cy="0"/>
          </a:xfrm>
          <a:prstGeom prst="line">
            <a:avLst/>
          </a:prstGeom>
          <a:ln>
            <a:solidFill>
              <a:srgbClr val="34ADD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4746070" y="4213296"/>
            <a:ext cx="251337" cy="0"/>
          </a:xfrm>
          <a:prstGeom prst="line">
            <a:avLst/>
          </a:prstGeom>
          <a:ln>
            <a:solidFill>
              <a:srgbClr val="34ADD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997407" y="3057042"/>
            <a:ext cx="792029" cy="0"/>
          </a:xfrm>
          <a:prstGeom prst="straightConnector1">
            <a:avLst/>
          </a:prstGeom>
          <a:ln>
            <a:solidFill>
              <a:srgbClr val="34ADD9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678069" y="1862752"/>
            <a:ext cx="0" cy="2404872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6426732" y="1862752"/>
            <a:ext cx="251337" cy="0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H="1">
            <a:off x="6426732" y="4253313"/>
            <a:ext cx="251337" cy="0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431323" y="1181566"/>
            <a:ext cx="21612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1200" dirty="0">
                <a:solidFill>
                  <a:srgbClr val="34ADD9"/>
                </a:solidFill>
                <a:latin typeface="Verdana"/>
                <a:cs typeface="Verdana"/>
              </a:rPr>
              <a:t>GENERIC MANUFACTURER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21811" y="894783"/>
            <a:ext cx="18576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1200" dirty="0">
                <a:solidFill>
                  <a:srgbClr val="000090"/>
                </a:solidFill>
                <a:latin typeface="Verdana"/>
                <a:cs typeface="Verdana"/>
              </a:rPr>
              <a:t>PEOPLE </a:t>
            </a:r>
            <a:r>
              <a:rPr lang="en-US" sz="1200" b="1" dirty="0">
                <a:solidFill>
                  <a:srgbClr val="000090"/>
                </a:solidFill>
                <a:latin typeface="Verdana"/>
                <a:cs typeface="Verdana"/>
              </a:rPr>
              <a:t>NEEDING ACCESS TO MEDICINES IN DEVELOPING COUNTRIES</a:t>
            </a:r>
            <a:endParaRPr lang="en-US" sz="1200" b="1" kern="1200" dirty="0">
              <a:solidFill>
                <a:srgbClr val="000090"/>
              </a:solidFill>
              <a:latin typeface="Verdana"/>
              <a:cs typeface="Verdana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3479226" y="2300710"/>
            <a:ext cx="1128866" cy="5496513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3618890" y="4942029"/>
            <a:ext cx="11557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kern="1200" dirty="0">
                <a:solidFill>
                  <a:srgbClr val="34ADD9"/>
                </a:solidFill>
                <a:latin typeface="Arial" pitchFamily="34" charset="0"/>
                <a:cs typeface="Arial" pitchFamily="34" charset="0"/>
              </a:rPr>
              <a:t>ROYALTI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E8D6FA2-880A-4441-8489-3CE05DC59172}"/>
              </a:ext>
            </a:extLst>
          </p:cNvPr>
          <p:cNvSpPr txBox="1"/>
          <p:nvPr/>
        </p:nvSpPr>
        <p:spPr>
          <a:xfrm>
            <a:off x="2340864" y="6084808"/>
            <a:ext cx="2944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alibri"/>
              </a:rPr>
              <a:t>The MPP is funded by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8F380E0-9C7E-A34A-A712-BF2113D9086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2017" y="5910150"/>
            <a:ext cx="1649145" cy="674650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2BB8C61F-E2C9-3547-B5DE-CD54DA07BFB9}"/>
              </a:ext>
            </a:extLst>
          </p:cNvPr>
          <p:cNvSpPr txBox="1">
            <a:spLocks/>
          </p:cNvSpPr>
          <p:nvPr/>
        </p:nvSpPr>
        <p:spPr>
          <a:xfrm>
            <a:off x="1347124" y="174955"/>
            <a:ext cx="7732295" cy="572076"/>
          </a:xfrm>
          <a:prstGeom prst="rect">
            <a:avLst/>
          </a:prstGeom>
        </p:spPr>
        <p:txBody>
          <a:bodyPr>
            <a:noAutofit/>
          </a:bodyPr>
          <a:lstStyle>
            <a:lvl1pPr algn="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kern="1200" cap="all" baseline="0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Calibri" pitchFamily="34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2100" b="1" dirty="0">
                <a:latin typeface="+mj-lt"/>
                <a:cs typeface="Calibri"/>
              </a:rPr>
              <a:t>A stylized view of the </a:t>
            </a:r>
            <a:r>
              <a:rPr lang="en-US" sz="2100" b="1" dirty="0" err="1">
                <a:latin typeface="+mj-lt"/>
                <a:cs typeface="Calibri"/>
              </a:rPr>
              <a:t>mpp</a:t>
            </a:r>
            <a:r>
              <a:rPr lang="en-US" sz="2100" b="1" dirty="0">
                <a:latin typeface="+mj-lt"/>
                <a:cs typeface="Calibri"/>
              </a:rPr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36081848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20969" y="1181566"/>
            <a:ext cx="12363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1200" dirty="0">
                <a:solidFill>
                  <a:srgbClr val="75C1C0"/>
                </a:solidFill>
                <a:latin typeface="Verdana"/>
                <a:cs typeface="Verdana"/>
              </a:rPr>
              <a:t>PATENT HOLDER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95048" y="2709152"/>
            <a:ext cx="9412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kern="1200" dirty="0">
                <a:solidFill>
                  <a:srgbClr val="75C1C0"/>
                </a:solidFill>
                <a:latin typeface="Verdana"/>
                <a:cs typeface="Verdana"/>
              </a:rPr>
              <a:t>Licences</a:t>
            </a:r>
          </a:p>
        </p:txBody>
      </p:sp>
      <p:pic>
        <p:nvPicPr>
          <p:cNvPr id="5" name="Picture 4" descr="nt seals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632" y="1830881"/>
            <a:ext cx="619185" cy="2404872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1836826" y="1830881"/>
            <a:ext cx="0" cy="2404872"/>
          </a:xfrm>
          <a:prstGeom prst="line">
            <a:avLst/>
          </a:prstGeom>
          <a:ln>
            <a:solidFill>
              <a:srgbClr val="75C1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H="1">
            <a:off x="1585489" y="1830881"/>
            <a:ext cx="251337" cy="0"/>
          </a:xfrm>
          <a:prstGeom prst="line">
            <a:avLst/>
          </a:prstGeom>
          <a:ln>
            <a:solidFill>
              <a:srgbClr val="75C1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1585489" y="4221442"/>
            <a:ext cx="251337" cy="0"/>
          </a:xfrm>
          <a:prstGeom prst="line">
            <a:avLst/>
          </a:prstGeom>
          <a:ln>
            <a:solidFill>
              <a:srgbClr val="75C1C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1836826" y="3065188"/>
            <a:ext cx="792029" cy="0"/>
          </a:xfrm>
          <a:prstGeom prst="straightConnector1">
            <a:avLst/>
          </a:prstGeom>
          <a:ln>
            <a:solidFill>
              <a:srgbClr val="75C1C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MPPF-LOGO hopeully rgb.pd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0604" y="2497838"/>
            <a:ext cx="2114012" cy="11347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935" y="3744967"/>
            <a:ext cx="774700" cy="5715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935" y="2766245"/>
            <a:ext cx="774700" cy="571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2935" y="1830881"/>
            <a:ext cx="774700" cy="571500"/>
          </a:xfrm>
          <a:prstGeom prst="rect">
            <a:avLst/>
          </a:prstGeom>
        </p:spPr>
      </p:pic>
      <p:pic>
        <p:nvPicPr>
          <p:cNvPr id="14" name="Picture 13" descr="pills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5693" y="1830881"/>
            <a:ext cx="480974" cy="240487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975533" y="2524486"/>
            <a:ext cx="941283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 kern="1200" dirty="0">
                <a:solidFill>
                  <a:srgbClr val="34ADD9"/>
                </a:solidFill>
                <a:latin typeface="Verdana"/>
                <a:cs typeface="Verdana"/>
              </a:rPr>
              <a:t>Sub-</a:t>
            </a:r>
          </a:p>
          <a:p>
            <a:r>
              <a:rPr lang="en-US" sz="1400" kern="1200" dirty="0">
                <a:solidFill>
                  <a:srgbClr val="34ADD9"/>
                </a:solidFill>
                <a:latin typeface="Verdana"/>
                <a:cs typeface="Verdana"/>
              </a:rPr>
              <a:t>Licences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6678069" y="3056588"/>
            <a:ext cx="862508" cy="0"/>
          </a:xfrm>
          <a:prstGeom prst="straightConnector1">
            <a:avLst/>
          </a:prstGeom>
          <a:ln>
            <a:solidFill>
              <a:srgbClr val="00009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678069" y="2709152"/>
            <a:ext cx="935773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kern="1200" dirty="0">
                <a:solidFill>
                  <a:srgbClr val="000090"/>
                </a:solidFill>
                <a:latin typeface="Verdana"/>
                <a:cs typeface="Verdana"/>
              </a:rPr>
              <a:t>Medicines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6678069" y="2137224"/>
            <a:ext cx="862508" cy="0"/>
          </a:xfrm>
          <a:prstGeom prst="straightConnector1">
            <a:avLst/>
          </a:prstGeom>
          <a:ln>
            <a:solidFill>
              <a:srgbClr val="00009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6678069" y="4016176"/>
            <a:ext cx="862508" cy="0"/>
          </a:xfrm>
          <a:prstGeom prst="straightConnector1">
            <a:avLst/>
          </a:prstGeom>
          <a:ln>
            <a:solidFill>
              <a:srgbClr val="00009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997407" y="1822735"/>
            <a:ext cx="0" cy="2404872"/>
          </a:xfrm>
          <a:prstGeom prst="line">
            <a:avLst/>
          </a:prstGeom>
          <a:ln>
            <a:solidFill>
              <a:srgbClr val="34ADD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4746070" y="1822735"/>
            <a:ext cx="251337" cy="0"/>
          </a:xfrm>
          <a:prstGeom prst="line">
            <a:avLst/>
          </a:prstGeom>
          <a:ln>
            <a:solidFill>
              <a:srgbClr val="34ADD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4746070" y="4213296"/>
            <a:ext cx="251337" cy="0"/>
          </a:xfrm>
          <a:prstGeom prst="line">
            <a:avLst/>
          </a:prstGeom>
          <a:ln>
            <a:solidFill>
              <a:srgbClr val="34ADD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997407" y="3057042"/>
            <a:ext cx="792029" cy="0"/>
          </a:xfrm>
          <a:prstGeom prst="straightConnector1">
            <a:avLst/>
          </a:prstGeom>
          <a:ln>
            <a:solidFill>
              <a:srgbClr val="34ADD9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678069" y="1862752"/>
            <a:ext cx="0" cy="2404872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6426732" y="1862752"/>
            <a:ext cx="251337" cy="0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H="1">
            <a:off x="6426732" y="4253313"/>
            <a:ext cx="251337" cy="0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431323" y="1181566"/>
            <a:ext cx="21612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kern="1200" dirty="0">
                <a:solidFill>
                  <a:srgbClr val="34ADD9"/>
                </a:solidFill>
                <a:latin typeface="Verdana"/>
                <a:cs typeface="Verdana"/>
              </a:rPr>
              <a:t>GENERIC MANUFACTURER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21811" y="894783"/>
            <a:ext cx="18576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kern="1200" dirty="0">
                <a:solidFill>
                  <a:srgbClr val="000090"/>
                </a:solidFill>
                <a:latin typeface="Verdana"/>
                <a:cs typeface="Verdana"/>
              </a:rPr>
              <a:t>PEOPLE </a:t>
            </a:r>
            <a:r>
              <a:rPr lang="en-US" sz="1200" b="1" dirty="0">
                <a:solidFill>
                  <a:srgbClr val="000090"/>
                </a:solidFill>
                <a:latin typeface="Verdana"/>
                <a:cs typeface="Verdana"/>
              </a:rPr>
              <a:t>NEEDING ACCESS TO MEDICINES IN DEVELOPING COUNTRIES</a:t>
            </a:r>
            <a:endParaRPr lang="en-US" sz="1200" b="1" kern="1200" dirty="0">
              <a:solidFill>
                <a:srgbClr val="000090"/>
              </a:solidFill>
              <a:latin typeface="Verdana"/>
              <a:cs typeface="Verdana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3479226" y="2300710"/>
            <a:ext cx="1128866" cy="5496513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3618890" y="4942029"/>
            <a:ext cx="11557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kern="1200" dirty="0">
                <a:solidFill>
                  <a:srgbClr val="34ADD9"/>
                </a:solidFill>
                <a:latin typeface="Arial" pitchFamily="34" charset="0"/>
                <a:cs typeface="Arial" pitchFamily="34" charset="0"/>
              </a:rPr>
              <a:t>ROYALTI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E8D6FA2-880A-4441-8489-3CE05DC59172}"/>
              </a:ext>
            </a:extLst>
          </p:cNvPr>
          <p:cNvSpPr txBox="1"/>
          <p:nvPr/>
        </p:nvSpPr>
        <p:spPr>
          <a:xfrm>
            <a:off x="2340864" y="6084808"/>
            <a:ext cx="2944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Calibri"/>
              </a:rPr>
              <a:t>The MPP is funded by 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8F380E0-9C7E-A34A-A712-BF2113D9086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2017" y="5910150"/>
            <a:ext cx="1649145" cy="67465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1E1D287C-6A11-1B4C-85CC-8C1D1E83ED41}"/>
              </a:ext>
            </a:extLst>
          </p:cNvPr>
          <p:cNvSpPr/>
          <p:nvPr/>
        </p:nvSpPr>
        <p:spPr>
          <a:xfrm>
            <a:off x="4431322" y="894783"/>
            <a:ext cx="3109255" cy="3888232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ACB23EF9-FE03-094E-9EFA-6DAF0F58C4C3}"/>
              </a:ext>
            </a:extLst>
          </p:cNvPr>
          <p:cNvCxnSpPr/>
          <p:nvPr/>
        </p:nvCxnSpPr>
        <p:spPr>
          <a:xfrm>
            <a:off x="7385538" y="4783015"/>
            <a:ext cx="367397" cy="43601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43A7C27-1E33-614D-9A44-291A3B578928}"/>
              </a:ext>
            </a:extLst>
          </p:cNvPr>
          <p:cNvSpPr txBox="1"/>
          <p:nvPr/>
        </p:nvSpPr>
        <p:spPr>
          <a:xfrm>
            <a:off x="7221811" y="5219028"/>
            <a:ext cx="19221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Objective of today’s session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2D833DF6-6B3F-3F47-884B-DBE0AAB033A1}"/>
              </a:ext>
            </a:extLst>
          </p:cNvPr>
          <p:cNvSpPr txBox="1">
            <a:spLocks/>
          </p:cNvSpPr>
          <p:nvPr/>
        </p:nvSpPr>
        <p:spPr>
          <a:xfrm>
            <a:off x="1347124" y="193610"/>
            <a:ext cx="7732295" cy="572076"/>
          </a:xfrm>
          <a:prstGeom prst="rect">
            <a:avLst/>
          </a:prstGeom>
        </p:spPr>
        <p:txBody>
          <a:bodyPr>
            <a:noAutofit/>
          </a:bodyPr>
          <a:lstStyle>
            <a:lvl1pPr algn="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kern="1200" cap="all" baseline="0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Calibri" pitchFamily="34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90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2100" b="1" dirty="0">
                <a:latin typeface="+mj-lt"/>
                <a:cs typeface="Calibri"/>
              </a:rPr>
              <a:t>A stylized view of the </a:t>
            </a:r>
            <a:r>
              <a:rPr lang="en-US" sz="2100" b="1" dirty="0" err="1">
                <a:latin typeface="+mj-lt"/>
                <a:cs typeface="Calibri"/>
              </a:rPr>
              <a:t>mpp</a:t>
            </a:r>
            <a:r>
              <a:rPr lang="en-US" sz="2100" b="1" dirty="0">
                <a:latin typeface="+mj-lt"/>
                <a:cs typeface="Calibri"/>
              </a:rPr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761580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536F93-ABD1-9340-9F0C-E98108176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2" y="0"/>
            <a:ext cx="91344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048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UNPRECEDENTED SPEED IN MAKING NEW ARVS AVAILABLE IN LMICS</a:t>
            </a:r>
          </a:p>
        </p:txBody>
      </p:sp>
      <p:sp>
        <p:nvSpPr>
          <p:cNvPr id="4" name="Right Arrow 3"/>
          <p:cNvSpPr/>
          <p:nvPr/>
        </p:nvSpPr>
        <p:spPr>
          <a:xfrm>
            <a:off x="155491" y="3491615"/>
            <a:ext cx="8712901" cy="34166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47649" y="1970475"/>
            <a:ext cx="13782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ugust 2013: </a:t>
            </a:r>
            <a:r>
              <a:rPr lang="en-US" sz="1600" dirty="0"/>
              <a:t>DTG approved by US FD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42836" y="3803643"/>
            <a:ext cx="622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-96296" y="3814845"/>
            <a:ext cx="622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3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59671" y="3792388"/>
            <a:ext cx="622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5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290021" y="3790727"/>
            <a:ext cx="622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6</a:t>
            </a:r>
          </a:p>
        </p:txBody>
      </p:sp>
      <p:sp>
        <p:nvSpPr>
          <p:cNvPr id="10" name="Oval 9"/>
          <p:cNvSpPr/>
          <p:nvPr/>
        </p:nvSpPr>
        <p:spPr>
          <a:xfrm>
            <a:off x="838393" y="3542693"/>
            <a:ext cx="205409" cy="196850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93647" y="4396944"/>
            <a:ext cx="21186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pril 2014: </a:t>
            </a:r>
            <a:r>
              <a:rPr lang="en-US" sz="1600" dirty="0"/>
              <a:t>MPP license with </a:t>
            </a:r>
            <a:r>
              <a:rPr lang="en-US" sz="1600" dirty="0" err="1"/>
              <a:t>ViiV</a:t>
            </a:r>
            <a:r>
              <a:rPr lang="en-US" sz="1600" dirty="0"/>
              <a:t> Healthcare </a:t>
            </a:r>
          </a:p>
        </p:txBody>
      </p:sp>
      <p:sp>
        <p:nvSpPr>
          <p:cNvPr id="13" name="Oval 12"/>
          <p:cNvSpPr/>
          <p:nvPr/>
        </p:nvSpPr>
        <p:spPr>
          <a:xfrm>
            <a:off x="2294626" y="3560431"/>
            <a:ext cx="205409" cy="196850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cxnSp>
        <p:nvCxnSpPr>
          <p:cNvPr id="17" name="Straight Arrow Connector 16"/>
          <p:cNvCxnSpPr>
            <a:cxnSpLocks/>
          </p:cNvCxnSpPr>
          <p:nvPr/>
        </p:nvCxnSpPr>
        <p:spPr>
          <a:xfrm flipH="1">
            <a:off x="938196" y="3125034"/>
            <a:ext cx="2" cy="29815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cxnSpLocks/>
          </p:cNvCxnSpPr>
          <p:nvPr/>
        </p:nvCxnSpPr>
        <p:spPr>
          <a:xfrm flipH="1">
            <a:off x="5083431" y="3159250"/>
            <a:ext cx="2" cy="29815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cxnSpLocks/>
          </p:cNvCxnSpPr>
          <p:nvPr/>
        </p:nvCxnSpPr>
        <p:spPr>
          <a:xfrm flipV="1">
            <a:off x="2418350" y="3939069"/>
            <a:ext cx="1" cy="307776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</p:cNvCxnSpPr>
          <p:nvPr/>
        </p:nvCxnSpPr>
        <p:spPr>
          <a:xfrm flipV="1">
            <a:off x="5761564" y="3900490"/>
            <a:ext cx="0" cy="325494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281990" y="1965419"/>
            <a:ext cx="16587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June 2016 </a:t>
            </a:r>
            <a:r>
              <a:rPr lang="en-US" sz="1600" dirty="0"/>
              <a:t>WHO guidelines recommend DTG in 1</a:t>
            </a:r>
            <a:r>
              <a:rPr lang="en-US" sz="1600" baseline="30000" dirty="0"/>
              <a:t>st</a:t>
            </a:r>
            <a:r>
              <a:rPr lang="en-US" sz="1600" dirty="0"/>
              <a:t> line</a:t>
            </a:r>
          </a:p>
        </p:txBody>
      </p:sp>
      <p:sp>
        <p:nvSpPr>
          <p:cNvPr id="23" name="Oval 22"/>
          <p:cNvSpPr/>
          <p:nvPr/>
        </p:nvSpPr>
        <p:spPr>
          <a:xfrm>
            <a:off x="4967472" y="3533654"/>
            <a:ext cx="205409" cy="196850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658860" y="3540537"/>
            <a:ext cx="205409" cy="196850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668209" y="4372374"/>
            <a:ext cx="20007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November 2016: </a:t>
            </a:r>
          </a:p>
          <a:p>
            <a:r>
              <a:rPr lang="en-US" sz="1600" dirty="0"/>
              <a:t>First MPP licensees filed for WHO Prequalification 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814921" y="3786309"/>
            <a:ext cx="622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017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02CD95C4-6393-E54A-B343-6B18ACF8EB9A}"/>
              </a:ext>
            </a:extLst>
          </p:cNvPr>
          <p:cNvSpPr/>
          <p:nvPr/>
        </p:nvSpPr>
        <p:spPr>
          <a:xfrm>
            <a:off x="7199091" y="3546883"/>
            <a:ext cx="205409" cy="196850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CCC8106-6703-9840-A02F-DE90938AE197}"/>
              </a:ext>
            </a:extLst>
          </p:cNvPr>
          <p:cNvSpPr txBox="1"/>
          <p:nvPr/>
        </p:nvSpPr>
        <p:spPr>
          <a:xfrm>
            <a:off x="6795781" y="4357860"/>
            <a:ext cx="199474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ugust 2017: </a:t>
            </a:r>
            <a:r>
              <a:rPr lang="en-US" sz="1600" dirty="0"/>
              <a:t>First approval of new combination (TLD) from MPP licensee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A2DC8854-4D3F-B842-A1EF-D5CC42A2D540}"/>
              </a:ext>
            </a:extLst>
          </p:cNvPr>
          <p:cNvCxnSpPr>
            <a:cxnSpLocks/>
          </p:cNvCxnSpPr>
          <p:nvPr/>
        </p:nvCxnSpPr>
        <p:spPr>
          <a:xfrm flipV="1">
            <a:off x="7303138" y="3877809"/>
            <a:ext cx="0" cy="325494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8B5484FF-92C5-754B-A7A6-CBC96DBE6B1B}"/>
              </a:ext>
            </a:extLst>
          </p:cNvPr>
          <p:cNvSpPr/>
          <p:nvPr/>
        </p:nvSpPr>
        <p:spPr>
          <a:xfrm>
            <a:off x="7783934" y="3540537"/>
            <a:ext cx="205409" cy="196850"/>
          </a:xfrm>
          <a:prstGeom prst="ellipse">
            <a:avLst/>
          </a:prstGeom>
          <a:gradFill>
            <a:gsLst>
              <a:gs pos="100000">
                <a:schemeClr val="accent2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BD03EC3-07D8-3942-ADCE-0EEAC79D6F95}"/>
              </a:ext>
            </a:extLst>
          </p:cNvPr>
          <p:cNvCxnSpPr>
            <a:cxnSpLocks/>
          </p:cNvCxnSpPr>
          <p:nvPr/>
        </p:nvCxnSpPr>
        <p:spPr>
          <a:xfrm flipH="1">
            <a:off x="7902257" y="3156307"/>
            <a:ext cx="2" cy="29815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214F0DE-5D3C-AE4A-851E-AA3125021F4A}"/>
              </a:ext>
            </a:extLst>
          </p:cNvPr>
          <p:cNvSpPr txBox="1"/>
          <p:nvPr/>
        </p:nvSpPr>
        <p:spPr>
          <a:xfrm>
            <a:off x="7213605" y="1957557"/>
            <a:ext cx="193039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ept 2017</a:t>
            </a:r>
            <a:endParaRPr lang="en-US" sz="1600" dirty="0"/>
          </a:p>
          <a:p>
            <a:r>
              <a:rPr lang="en-US" sz="1600" dirty="0"/>
              <a:t>Price of USD 75 announced for TLD combin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3E53D7D-3CB8-154A-A348-B687BBA0942E}"/>
              </a:ext>
            </a:extLst>
          </p:cNvPr>
          <p:cNvSpPr/>
          <p:nvPr/>
        </p:nvSpPr>
        <p:spPr>
          <a:xfrm>
            <a:off x="155491" y="5962040"/>
            <a:ext cx="88523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chemeClr val="tx2"/>
                </a:solidFill>
              </a:rPr>
              <a:t>4 years from originator approval to availability of a new fixed dose combination (“TLD”) from multiple suppliers at affordable pric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CF1B104-E996-4A4D-99CB-84D97A8E26AF}"/>
              </a:ext>
            </a:extLst>
          </p:cNvPr>
          <p:cNvSpPr/>
          <p:nvPr/>
        </p:nvSpPr>
        <p:spPr>
          <a:xfrm>
            <a:off x="347649" y="997368"/>
            <a:ext cx="88523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THE CASE OF DOLUTEGRAVIR</a:t>
            </a:r>
          </a:p>
        </p:txBody>
      </p:sp>
    </p:spTree>
    <p:extLst>
      <p:ext uri="{BB962C8B-B14F-4D97-AF65-F5344CB8AC3E}">
        <p14:creationId xmlns:p14="http://schemas.microsoft.com/office/powerpoint/2010/main" val="2444611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HQoPx4e0Glt3FYM.fM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xSxSmjhEehpyU5T9gz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6T0BZMqUW6VgRlnwWV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2O965vjUmArOlMWZA6Hg"/>
</p:tagLst>
</file>

<file path=ppt/theme/theme1.xml><?xml version="1.0" encoding="utf-8"?>
<a:theme xmlns:a="http://schemas.openxmlformats.org/drawingml/2006/main" name="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volution">
      <a:majorFont>
        <a:latin typeface="Trebuchet MS"/>
        <a:ea typeface=""/>
        <a:cs typeface=""/>
        <a:font script="Jpan" typeface="ＭＳ ゴシック"/>
      </a:majorFont>
      <a:minorFont>
        <a:latin typeface="Trebuchet MS"/>
        <a:ea typeface=""/>
        <a:cs typeface=""/>
        <a:font script="Jpan" typeface="ＭＳ 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Template.pot</Template>
  <TotalTime>55656</TotalTime>
  <Words>1770</Words>
  <Application>Microsoft Macintosh PowerPoint</Application>
  <PresentationFormat>On-screen Show (4:3)</PresentationFormat>
  <Paragraphs>372</Paragraphs>
  <Slides>36</Slides>
  <Notes>2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3" baseType="lpstr">
      <vt:lpstr>ＭＳ Ｐゴシック</vt:lpstr>
      <vt:lpstr>Arial</vt:lpstr>
      <vt:lpstr>Calibri</vt:lpstr>
      <vt:lpstr>Trebuchet MS</vt:lpstr>
      <vt:lpstr>Verdana</vt:lpstr>
      <vt:lpstr>Wingdings 3</vt:lpstr>
      <vt:lpstr>Presentation Template</vt:lpstr>
      <vt:lpstr>Accelerating Access to new WHO-Recommended Generic Medicines and Formulations  Esteban Burrone and Aastha Gupta Medicines Patent Pool  July 2018</vt:lpstr>
      <vt:lpstr>CONTEXT FOR THIS SESSION</vt:lpstr>
      <vt:lpstr>WHAT IS THE MEDICINES PATENT POOL ?</vt:lpstr>
      <vt:lpstr>KEY FEATURES OF MPP LICENCES</vt:lpstr>
      <vt:lpstr>HOW TO FIND OUT WHICH COUNTRIES ARE IN LICENCES OR HAVE PATENTS ON AN ESSENTIAL MEDICINE</vt:lpstr>
      <vt:lpstr>PowerPoint Presentation</vt:lpstr>
      <vt:lpstr>PowerPoint Presentation</vt:lpstr>
      <vt:lpstr>PowerPoint Presentation</vt:lpstr>
      <vt:lpstr>UNPRECEDENTED SPEED IN MAKING NEW ARVS AVAILABLE IN LMICS</vt:lpstr>
      <vt:lpstr>MPP’s Partnership with Patent Holders</vt:lpstr>
      <vt:lpstr>Snapshot of MPP Sub-Licences</vt:lpstr>
      <vt:lpstr>Triangle Charts: A Snapshot</vt:lpstr>
      <vt:lpstr>Triangle Charts Explained (1/5) </vt:lpstr>
      <vt:lpstr>Triangle Charts Explained (2/5) </vt:lpstr>
      <vt:lpstr>Triangle Charts Explained (3/5) </vt:lpstr>
      <vt:lpstr>Triangle Charts Explained (4/5) </vt:lpstr>
      <vt:lpstr>Triangle Charts Explained (5/5) </vt:lpstr>
      <vt:lpstr>PowerPoint Presentation</vt:lpstr>
      <vt:lpstr>DTG 50mg</vt:lpstr>
      <vt:lpstr>DTG 50mg: Country-wise Filing Status</vt:lpstr>
      <vt:lpstr>DTG 50mg Dispersible Tablets </vt:lpstr>
      <vt:lpstr>TDF/3TC/DTG (tenofovir disoproxil/lamivudine/dolutegravir)</vt:lpstr>
      <vt:lpstr>TDF/3TC/DTG: Country-wise Filing Status</vt:lpstr>
      <vt:lpstr>TAF/FTC/DTG (Tenofovir alafenamide/emtricitabine/dolutegravir)</vt:lpstr>
      <vt:lpstr>PowerPoint Presentation</vt:lpstr>
      <vt:lpstr>Paediatric Projects1</vt:lpstr>
      <vt:lpstr>PowerPoint Presentation</vt:lpstr>
      <vt:lpstr>DAC 30mg and 60mg</vt:lpstr>
      <vt:lpstr>DAC 30mg &amp; 60mg: Country-wise Filing Status</vt:lpstr>
      <vt:lpstr>DAC/SOF</vt:lpstr>
      <vt:lpstr>DAC/SOF: Country-wise Filing Status and Plan</vt:lpstr>
      <vt:lpstr>MPP Impact</vt:lpstr>
      <vt:lpstr>Impact of MPP Agreements Till Dec-2017 (HIV, HCV products)</vt:lpstr>
      <vt:lpstr>Projected Impact of MPP HIV Agreements Till 2028 (HIV products only)</vt:lpstr>
      <vt:lpstr>PowerPoint Presentation</vt:lpstr>
      <vt:lpstr>PowerPoint Presentation</vt:lpstr>
    </vt:vector>
  </TitlesOfParts>
  <Company>Medicines Patent Pool</Company>
  <LinksUpToDate>false</LinksUpToDate>
  <SharedDoc>false</SharedDoc>
  <HyperlinksChanged>false</HyperlinksChanged>
  <AppVersion>16.001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Medicines Patent Pool</dc:title>
  <dc:creator>Aastha Gupta</dc:creator>
  <cp:lastModifiedBy>Esteban</cp:lastModifiedBy>
  <cp:revision>1532</cp:revision>
  <cp:lastPrinted>2016-04-21T15:14:00Z</cp:lastPrinted>
  <dcterms:created xsi:type="dcterms:W3CDTF">2011-02-07T11:45:36Z</dcterms:created>
  <dcterms:modified xsi:type="dcterms:W3CDTF">2018-07-24T14:55:51Z</dcterms:modified>
</cp:coreProperties>
</file>